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56" r:id="rId2"/>
    <p:sldId id="278" r:id="rId3"/>
    <p:sldId id="269" r:id="rId4"/>
    <p:sldId id="277" r:id="rId5"/>
    <p:sldId id="258" r:id="rId6"/>
    <p:sldId id="274" r:id="rId7"/>
    <p:sldId id="303" r:id="rId8"/>
    <p:sldId id="305" r:id="rId9"/>
    <p:sldId id="302" r:id="rId10"/>
    <p:sldId id="275" r:id="rId11"/>
    <p:sldId id="309" r:id="rId12"/>
    <p:sldId id="310" r:id="rId13"/>
    <p:sldId id="306" r:id="rId14"/>
    <p:sldId id="308" r:id="rId15"/>
    <p:sldId id="307" r:id="rId16"/>
    <p:sldId id="304" r:id="rId17"/>
    <p:sldId id="292" r:id="rId18"/>
    <p:sldId id="276" r:id="rId19"/>
    <p:sldId id="311" r:id="rId20"/>
    <p:sldId id="314" r:id="rId21"/>
    <p:sldId id="313" r:id="rId22"/>
    <p:sldId id="316" r:id="rId23"/>
    <p:sldId id="312" r:id="rId24"/>
    <p:sldId id="315" r:id="rId25"/>
    <p:sldId id="261" r:id="rId26"/>
  </p:sldIdLst>
  <p:sldSz cx="12192000" cy="6858000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AAFF"/>
    <a:srgbClr val="4F86FF"/>
    <a:srgbClr val="81CBFF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655" autoAdjust="0"/>
    <p:restoredTop sz="96182" autoAdjust="0"/>
  </p:normalViewPr>
  <p:slideViewPr>
    <p:cSldViewPr snapToGrid="0">
      <p:cViewPr varScale="1">
        <p:scale>
          <a:sx n="93" d="100"/>
          <a:sy n="93" d="100"/>
        </p:scale>
        <p:origin x="91" y="13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3/1/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715233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58688" y="4126794"/>
            <a:ext cx="6119586" cy="55879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www.freepptbackgrounds.net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58688" y="4833729"/>
            <a:ext cx="6119586" cy="12512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reepptbackgrounds.net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58688" y="4730320"/>
            <a:ext cx="2555369" cy="0"/>
          </a:xfrm>
          <a:prstGeom prst="line">
            <a:avLst/>
          </a:prstGeom>
          <a:ln>
            <a:solidFill>
              <a:srgbClr val="538D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í$ḷîḑê"/>
          <p:cNvSpPr/>
          <p:nvPr userDrawn="1"/>
        </p:nvSpPr>
        <p:spPr>
          <a:xfrm>
            <a:off x="-2359" y="-38530"/>
            <a:ext cx="12192000" cy="3783256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 hasCustomPrompt="1"/>
          </p:nvPr>
        </p:nvSpPr>
        <p:spPr>
          <a:xfrm>
            <a:off x="675698" y="4185069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tr-TR" altLang="zh-CN" dirty="0"/>
              <a:t>Freepptbackgrounds.net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 hasCustomPrompt="1"/>
          </p:nvPr>
        </p:nvSpPr>
        <p:spPr>
          <a:xfrm>
            <a:off x="676814" y="5080419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altLang="zh-CN" dirty="0"/>
              <a:t>www.freepptbackgrounds.net</a:t>
            </a:r>
            <a:endParaRPr lang="zh-CN" altLang="en-US" dirty="0"/>
          </a:p>
        </p:txBody>
      </p:sp>
      <p:sp>
        <p:nvSpPr>
          <p:cNvPr id="6" name="íṥḻiḓe"/>
          <p:cNvSpPr/>
          <p:nvPr/>
        </p:nvSpPr>
        <p:spPr>
          <a:xfrm>
            <a:off x="8316982" y="3324591"/>
            <a:ext cx="935729" cy="2752145"/>
          </a:xfrm>
          <a:custGeom>
            <a:avLst/>
            <a:gdLst>
              <a:gd name="connsiteX0" fmla="*/ 591711 w 935729"/>
              <a:gd name="connsiteY0" fmla="*/ 0 h 2752144"/>
              <a:gd name="connsiteX1" fmla="*/ 478873 w 935729"/>
              <a:gd name="connsiteY1" fmla="*/ 0 h 2752144"/>
              <a:gd name="connsiteX2" fmla="*/ 476121 w 935729"/>
              <a:gd name="connsiteY2" fmla="*/ 0 h 2752144"/>
              <a:gd name="connsiteX3" fmla="*/ 363283 w 935729"/>
              <a:gd name="connsiteY3" fmla="*/ 0 h 2752144"/>
              <a:gd name="connsiteX4" fmla="*/ 0 w 935729"/>
              <a:gd name="connsiteY4" fmla="*/ 2774162 h 2752144"/>
              <a:gd name="connsiteX5" fmla="*/ 952241 w 935729"/>
              <a:gd name="connsiteY5" fmla="*/ 2774162 h 2752144"/>
              <a:gd name="connsiteX6" fmla="*/ 591711 w 935729"/>
              <a:gd name="connsiteY6" fmla="*/ 0 h 2752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29" h="2752144">
                <a:moveTo>
                  <a:pt x="591711" y="0"/>
                </a:moveTo>
                <a:lnTo>
                  <a:pt x="478873" y="0"/>
                </a:lnTo>
                <a:lnTo>
                  <a:pt x="476121" y="0"/>
                </a:lnTo>
                <a:lnTo>
                  <a:pt x="363283" y="0"/>
                </a:lnTo>
                <a:cubicBezTo>
                  <a:pt x="363283" y="1315525"/>
                  <a:pt x="0" y="2774162"/>
                  <a:pt x="0" y="2774162"/>
                </a:cubicBezTo>
                <a:lnTo>
                  <a:pt x="952241" y="2774162"/>
                </a:lnTo>
                <a:cubicBezTo>
                  <a:pt x="954994" y="2774162"/>
                  <a:pt x="591711" y="1315525"/>
                  <a:pt x="591711" y="0"/>
                </a:cubicBezTo>
                <a:close/>
              </a:path>
            </a:pathLst>
          </a:custGeom>
          <a:solidFill>
            <a:srgbClr val="F0E0A8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îŝļïḓe"/>
          <p:cNvSpPr/>
          <p:nvPr/>
        </p:nvSpPr>
        <p:spPr>
          <a:xfrm>
            <a:off x="8603205" y="3236522"/>
            <a:ext cx="385300" cy="825643"/>
          </a:xfrm>
          <a:custGeom>
            <a:avLst/>
            <a:gdLst>
              <a:gd name="connsiteX0" fmla="*/ 385300 w 385300"/>
              <a:gd name="connsiteY0" fmla="*/ 192650 h 825643"/>
              <a:gd name="connsiteX1" fmla="*/ 192650 w 385300"/>
              <a:gd name="connsiteY1" fmla="*/ 850413 h 825643"/>
              <a:gd name="connsiteX2" fmla="*/ 0 w 385300"/>
              <a:gd name="connsiteY2" fmla="*/ 192650 h 825643"/>
              <a:gd name="connsiteX3" fmla="*/ 192650 w 385300"/>
              <a:gd name="connsiteY3" fmla="*/ 0 h 825643"/>
              <a:gd name="connsiteX4" fmla="*/ 385300 w 385300"/>
              <a:gd name="connsiteY4" fmla="*/ 19265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25643">
                <a:moveTo>
                  <a:pt x="385300" y="192650"/>
                </a:moveTo>
                <a:cubicBezTo>
                  <a:pt x="385300" y="299984"/>
                  <a:pt x="192650" y="850413"/>
                  <a:pt x="192650" y="850413"/>
                </a:cubicBezTo>
                <a:cubicBezTo>
                  <a:pt x="192650" y="850413"/>
                  <a:pt x="0" y="297232"/>
                  <a:pt x="0" y="192650"/>
                </a:cubicBezTo>
                <a:cubicBezTo>
                  <a:pt x="0" y="85316"/>
                  <a:pt x="85317" y="0"/>
                  <a:pt x="192650" y="0"/>
                </a:cubicBezTo>
                <a:cubicBezTo>
                  <a:pt x="299984" y="0"/>
                  <a:pt x="385300" y="85316"/>
                  <a:pt x="385300" y="19265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îṣľïdê"/>
          <p:cNvSpPr/>
          <p:nvPr/>
        </p:nvSpPr>
        <p:spPr>
          <a:xfrm>
            <a:off x="8578436" y="3123684"/>
            <a:ext cx="412822" cy="247693"/>
          </a:xfrm>
          <a:custGeom>
            <a:avLst/>
            <a:gdLst>
              <a:gd name="connsiteX0" fmla="*/ 434839 w 412821"/>
              <a:gd name="connsiteY0" fmla="*/ 247693 h 247693"/>
              <a:gd name="connsiteX1" fmla="*/ 0 w 412821"/>
              <a:gd name="connsiteY1" fmla="*/ 247693 h 247693"/>
              <a:gd name="connsiteX2" fmla="*/ 35778 w 412821"/>
              <a:gd name="connsiteY2" fmla="*/ 0 h 247693"/>
              <a:gd name="connsiteX3" fmla="*/ 399061 w 412821"/>
              <a:gd name="connsiteY3" fmla="*/ 0 h 247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821" h="247693">
                <a:moveTo>
                  <a:pt x="434839" y="247693"/>
                </a:moveTo>
                <a:lnTo>
                  <a:pt x="0" y="247693"/>
                </a:lnTo>
                <a:lnTo>
                  <a:pt x="35778" y="0"/>
                </a:lnTo>
                <a:lnTo>
                  <a:pt x="399061" y="0"/>
                </a:ln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ïsľiḋê"/>
          <p:cNvSpPr/>
          <p:nvPr/>
        </p:nvSpPr>
        <p:spPr>
          <a:xfrm>
            <a:off x="8160109" y="2765905"/>
            <a:ext cx="385300" cy="880686"/>
          </a:xfrm>
          <a:custGeom>
            <a:avLst/>
            <a:gdLst>
              <a:gd name="connsiteX0" fmla="*/ 322001 w 385300"/>
              <a:gd name="connsiteY0" fmla="*/ 0 h 880686"/>
              <a:gd name="connsiteX1" fmla="*/ 0 w 385300"/>
              <a:gd name="connsiteY1" fmla="*/ 330257 h 880686"/>
              <a:gd name="connsiteX2" fmla="*/ 283471 w 385300"/>
              <a:gd name="connsiteY2" fmla="*/ 880686 h 880686"/>
              <a:gd name="connsiteX3" fmla="*/ 399061 w 385300"/>
              <a:gd name="connsiteY3" fmla="*/ 880686 h 880686"/>
              <a:gd name="connsiteX4" fmla="*/ 399061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322001" y="0"/>
                </a:moveTo>
                <a:lnTo>
                  <a:pt x="0" y="330257"/>
                </a:lnTo>
                <a:lnTo>
                  <a:pt x="283471" y="880686"/>
                </a:lnTo>
                <a:lnTo>
                  <a:pt x="399061" y="880686"/>
                </a:lnTo>
                <a:lnTo>
                  <a:pt x="399061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íṥ1íde"/>
          <p:cNvSpPr/>
          <p:nvPr/>
        </p:nvSpPr>
        <p:spPr>
          <a:xfrm>
            <a:off x="9032539" y="2765905"/>
            <a:ext cx="385300" cy="880686"/>
          </a:xfrm>
          <a:custGeom>
            <a:avLst/>
            <a:gdLst>
              <a:gd name="connsiteX0" fmla="*/ 74307 w 385300"/>
              <a:gd name="connsiteY0" fmla="*/ 0 h 880686"/>
              <a:gd name="connsiteX1" fmla="*/ 399061 w 385300"/>
              <a:gd name="connsiteY1" fmla="*/ 330257 h 880686"/>
              <a:gd name="connsiteX2" fmla="*/ 115590 w 385300"/>
              <a:gd name="connsiteY2" fmla="*/ 880686 h 880686"/>
              <a:gd name="connsiteX3" fmla="*/ 0 w 385300"/>
              <a:gd name="connsiteY3" fmla="*/ 880686 h 880686"/>
              <a:gd name="connsiteX4" fmla="*/ 0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74307" y="0"/>
                </a:moveTo>
                <a:lnTo>
                  <a:pt x="399061" y="330257"/>
                </a:lnTo>
                <a:lnTo>
                  <a:pt x="115590" y="880686"/>
                </a:lnTo>
                <a:lnTo>
                  <a:pt x="0" y="880686"/>
                </a:lnTo>
                <a:lnTo>
                  <a:pt x="0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iṧḻídê"/>
          <p:cNvSpPr/>
          <p:nvPr/>
        </p:nvSpPr>
        <p:spPr>
          <a:xfrm>
            <a:off x="8290252" y="1629270"/>
            <a:ext cx="990772" cy="1596244"/>
          </a:xfrm>
          <a:custGeom>
            <a:avLst/>
            <a:gdLst>
              <a:gd name="connsiteX0" fmla="*/ 978972 w 990772"/>
              <a:gd name="connsiteY0" fmla="*/ 0 h 1596243"/>
              <a:gd name="connsiteX1" fmla="*/ 505603 w 990772"/>
              <a:gd name="connsiteY1" fmla="*/ 85316 h 1596243"/>
              <a:gd name="connsiteX2" fmla="*/ 32234 w 990772"/>
              <a:gd name="connsiteY2" fmla="*/ 0 h 1596243"/>
              <a:gd name="connsiteX3" fmla="*/ 268919 w 990772"/>
              <a:gd name="connsiteY3" fmla="*/ 1604500 h 1596243"/>
              <a:gd name="connsiteX4" fmla="*/ 505603 w 990772"/>
              <a:gd name="connsiteY4" fmla="*/ 1604500 h 1596243"/>
              <a:gd name="connsiteX5" fmla="*/ 742288 w 990772"/>
              <a:gd name="connsiteY5" fmla="*/ 1604500 h 1596243"/>
              <a:gd name="connsiteX6" fmla="*/ 978972 w 990772"/>
              <a:gd name="connsiteY6" fmla="*/ 0 h 159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772" h="1596243">
                <a:moveTo>
                  <a:pt x="978972" y="0"/>
                </a:moveTo>
                <a:lnTo>
                  <a:pt x="505603" y="85316"/>
                </a:lnTo>
                <a:lnTo>
                  <a:pt x="32234" y="0"/>
                </a:lnTo>
                <a:cubicBezTo>
                  <a:pt x="-110877" y="935729"/>
                  <a:pt x="268919" y="1604500"/>
                  <a:pt x="268919" y="1604500"/>
                </a:cubicBezTo>
                <a:lnTo>
                  <a:pt x="505603" y="1604500"/>
                </a:lnTo>
                <a:lnTo>
                  <a:pt x="742288" y="1604500"/>
                </a:lnTo>
                <a:cubicBezTo>
                  <a:pt x="742288" y="1607252"/>
                  <a:pt x="1119331" y="935729"/>
                  <a:pt x="978972" y="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ïśļîḓé"/>
          <p:cNvSpPr/>
          <p:nvPr/>
        </p:nvSpPr>
        <p:spPr>
          <a:xfrm>
            <a:off x="8322486" y="891695"/>
            <a:ext cx="935729" cy="825643"/>
          </a:xfrm>
          <a:custGeom>
            <a:avLst/>
            <a:gdLst>
              <a:gd name="connsiteX0" fmla="*/ 473369 w 935729"/>
              <a:gd name="connsiteY0" fmla="*/ 0 h 825643"/>
              <a:gd name="connsiteX1" fmla="*/ 0 w 935729"/>
              <a:gd name="connsiteY1" fmla="*/ 737575 h 825643"/>
              <a:gd name="connsiteX2" fmla="*/ 473369 w 935729"/>
              <a:gd name="connsiteY2" fmla="*/ 842156 h 825643"/>
              <a:gd name="connsiteX3" fmla="*/ 946738 w 935729"/>
              <a:gd name="connsiteY3" fmla="*/ 737575 h 825643"/>
              <a:gd name="connsiteX4" fmla="*/ 473369 w 935729"/>
              <a:gd name="connsiteY4" fmla="*/ 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5729" h="825643">
                <a:moveTo>
                  <a:pt x="473369" y="0"/>
                </a:moveTo>
                <a:cubicBezTo>
                  <a:pt x="88069" y="288975"/>
                  <a:pt x="0" y="737575"/>
                  <a:pt x="0" y="737575"/>
                </a:cubicBezTo>
                <a:cubicBezTo>
                  <a:pt x="0" y="737575"/>
                  <a:pt x="211915" y="842156"/>
                  <a:pt x="473369" y="842156"/>
                </a:cubicBezTo>
                <a:cubicBezTo>
                  <a:pt x="734823" y="842156"/>
                  <a:pt x="946738" y="737575"/>
                  <a:pt x="946738" y="737575"/>
                </a:cubicBezTo>
                <a:cubicBezTo>
                  <a:pt x="946738" y="737575"/>
                  <a:pt x="858669" y="288975"/>
                  <a:pt x="473369" y="0"/>
                </a:cubicBez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ïşḷïḋé"/>
          <p:cNvSpPr/>
          <p:nvPr/>
        </p:nvSpPr>
        <p:spPr>
          <a:xfrm>
            <a:off x="8526145" y="1821920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iṩ1ïďè"/>
          <p:cNvSpPr/>
          <p:nvPr/>
        </p:nvSpPr>
        <p:spPr>
          <a:xfrm>
            <a:off x="8526145" y="1794398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îṡlïḓe"/>
          <p:cNvSpPr/>
          <p:nvPr/>
        </p:nvSpPr>
        <p:spPr>
          <a:xfrm>
            <a:off x="8570179" y="1838433"/>
            <a:ext cx="440343" cy="440343"/>
          </a:xfrm>
          <a:custGeom>
            <a:avLst/>
            <a:gdLst>
              <a:gd name="connsiteX0" fmla="*/ 451351 w 440343"/>
              <a:gd name="connsiteY0" fmla="*/ 225676 h 440343"/>
              <a:gd name="connsiteX1" fmla="*/ 225675 w 440343"/>
              <a:gd name="connsiteY1" fmla="*/ 451352 h 440343"/>
              <a:gd name="connsiteX2" fmla="*/ -1 w 440343"/>
              <a:gd name="connsiteY2" fmla="*/ 225676 h 440343"/>
              <a:gd name="connsiteX3" fmla="*/ 225675 w 440343"/>
              <a:gd name="connsiteY3" fmla="*/ 0 h 440343"/>
              <a:gd name="connsiteX4" fmla="*/ 451351 w 440343"/>
              <a:gd name="connsiteY4" fmla="*/ 225676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451351" y="225676"/>
                </a:moveTo>
                <a:cubicBezTo>
                  <a:pt x="451351" y="350313"/>
                  <a:pt x="350313" y="451352"/>
                  <a:pt x="225675" y="451352"/>
                </a:cubicBezTo>
                <a:cubicBezTo>
                  <a:pt x="101038" y="451352"/>
                  <a:pt x="-1" y="350313"/>
                  <a:pt x="-1" y="225676"/>
                </a:cubicBezTo>
                <a:cubicBezTo>
                  <a:pt x="-1" y="101039"/>
                  <a:pt x="101038" y="0"/>
                  <a:pt x="225675" y="0"/>
                </a:cubicBezTo>
                <a:cubicBezTo>
                  <a:pt x="350313" y="0"/>
                  <a:pt x="451351" y="101039"/>
                  <a:pt x="451351" y="225676"/>
                </a:cubicBezTo>
                <a:close/>
              </a:path>
            </a:pathLst>
          </a:custGeom>
          <a:solidFill>
            <a:srgbClr val="36445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ïsļíďê"/>
          <p:cNvSpPr/>
          <p:nvPr/>
        </p:nvSpPr>
        <p:spPr>
          <a:xfrm>
            <a:off x="8572931" y="1863202"/>
            <a:ext cx="440343" cy="412822"/>
          </a:xfrm>
          <a:custGeom>
            <a:avLst/>
            <a:gdLst>
              <a:gd name="connsiteX0" fmla="*/ 222924 w 440343"/>
              <a:gd name="connsiteY0" fmla="*/ 0 h 412821"/>
              <a:gd name="connsiteX1" fmla="*/ 0 w 440343"/>
              <a:gd name="connsiteY1" fmla="*/ 211915 h 412821"/>
              <a:gd name="connsiteX2" fmla="*/ 222924 w 440343"/>
              <a:gd name="connsiteY2" fmla="*/ 423830 h 412821"/>
              <a:gd name="connsiteX3" fmla="*/ 445848 w 440343"/>
              <a:gd name="connsiteY3" fmla="*/ 211915 h 412821"/>
              <a:gd name="connsiteX4" fmla="*/ 222924 w 440343"/>
              <a:gd name="connsiteY4" fmla="*/ 0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12821">
                <a:moveTo>
                  <a:pt x="222924" y="0"/>
                </a:moveTo>
                <a:cubicBezTo>
                  <a:pt x="101830" y="0"/>
                  <a:pt x="5505" y="93573"/>
                  <a:pt x="0" y="211915"/>
                </a:cubicBezTo>
                <a:cubicBezTo>
                  <a:pt x="5505" y="330257"/>
                  <a:pt x="104581" y="423830"/>
                  <a:pt x="222924" y="423830"/>
                </a:cubicBezTo>
                <a:cubicBezTo>
                  <a:pt x="344018" y="423830"/>
                  <a:pt x="440343" y="330257"/>
                  <a:pt x="445848" y="211915"/>
                </a:cubicBezTo>
                <a:cubicBezTo>
                  <a:pt x="440343" y="93573"/>
                  <a:pt x="344018" y="0"/>
                  <a:pt x="222924" y="0"/>
                </a:cubicBez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iśļîďé"/>
          <p:cNvSpPr/>
          <p:nvPr/>
        </p:nvSpPr>
        <p:spPr>
          <a:xfrm>
            <a:off x="8570179" y="1841185"/>
            <a:ext cx="412822" cy="330257"/>
          </a:xfrm>
          <a:custGeom>
            <a:avLst/>
            <a:gdLst>
              <a:gd name="connsiteX0" fmla="*/ 225676 w 412821"/>
              <a:gd name="connsiteY0" fmla="*/ 0 h 330257"/>
              <a:gd name="connsiteX1" fmla="*/ 0 w 412821"/>
              <a:gd name="connsiteY1" fmla="*/ 225676 h 330257"/>
              <a:gd name="connsiteX2" fmla="*/ 38530 w 412821"/>
              <a:gd name="connsiteY2" fmla="*/ 349522 h 330257"/>
              <a:gd name="connsiteX3" fmla="*/ 421079 w 412821"/>
              <a:gd name="connsiteY3" fmla="*/ 115590 h 330257"/>
              <a:gd name="connsiteX4" fmla="*/ 225676 w 412821"/>
              <a:gd name="connsiteY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2821" h="330257">
                <a:moveTo>
                  <a:pt x="225676" y="0"/>
                </a:moveTo>
                <a:cubicBezTo>
                  <a:pt x="101830" y="0"/>
                  <a:pt x="0" y="101829"/>
                  <a:pt x="0" y="225676"/>
                </a:cubicBezTo>
                <a:cubicBezTo>
                  <a:pt x="0" y="272462"/>
                  <a:pt x="13761" y="313745"/>
                  <a:pt x="38530" y="349522"/>
                </a:cubicBezTo>
                <a:lnTo>
                  <a:pt x="421079" y="115590"/>
                </a:lnTo>
                <a:cubicBezTo>
                  <a:pt x="382548" y="44034"/>
                  <a:pt x="308241" y="0"/>
                  <a:pt x="225676" y="0"/>
                </a:cubicBezTo>
                <a:close/>
              </a:path>
            </a:pathLst>
          </a:custGeom>
          <a:solidFill>
            <a:srgbClr val="FFFFFF">
              <a:alpha val="2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íSľîḋe"/>
          <p:cNvSpPr/>
          <p:nvPr/>
        </p:nvSpPr>
        <p:spPr>
          <a:xfrm>
            <a:off x="8476606" y="3054881"/>
            <a:ext cx="632993" cy="27521"/>
          </a:xfrm>
          <a:custGeom>
            <a:avLst/>
            <a:gdLst>
              <a:gd name="connsiteX0" fmla="*/ 638498 w 632993"/>
              <a:gd name="connsiteY0" fmla="*/ 0 h 27521"/>
              <a:gd name="connsiteX1" fmla="*/ 0 w 632993"/>
              <a:gd name="connsiteY1" fmla="*/ 0 h 27521"/>
              <a:gd name="connsiteX2" fmla="*/ 11008 w 632993"/>
              <a:gd name="connsiteY2" fmla="*/ 27521 h 27521"/>
              <a:gd name="connsiteX3" fmla="*/ 624737 w 632993"/>
              <a:gd name="connsiteY3" fmla="*/ 27521 h 27521"/>
              <a:gd name="connsiteX4" fmla="*/ 638498 w 632993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993" h="27521">
                <a:moveTo>
                  <a:pt x="638498" y="0"/>
                </a:moveTo>
                <a:lnTo>
                  <a:pt x="0" y="0"/>
                </a:lnTo>
                <a:cubicBezTo>
                  <a:pt x="2752" y="8257"/>
                  <a:pt x="8256" y="19265"/>
                  <a:pt x="11008" y="27521"/>
                </a:cubicBezTo>
                <a:lnTo>
                  <a:pt x="624737" y="27521"/>
                </a:lnTo>
                <a:cubicBezTo>
                  <a:pt x="630241" y="19265"/>
                  <a:pt x="632993" y="8257"/>
                  <a:pt x="638498" y="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iṥľîḍé"/>
          <p:cNvSpPr/>
          <p:nvPr/>
        </p:nvSpPr>
        <p:spPr>
          <a:xfrm>
            <a:off x="8416058" y="2878743"/>
            <a:ext cx="743079" cy="27521"/>
          </a:xfrm>
          <a:custGeom>
            <a:avLst/>
            <a:gdLst>
              <a:gd name="connsiteX0" fmla="*/ 0 w 743079"/>
              <a:gd name="connsiteY0" fmla="*/ 0 h 27521"/>
              <a:gd name="connsiteX1" fmla="*/ 8257 w 743079"/>
              <a:gd name="connsiteY1" fmla="*/ 27521 h 27521"/>
              <a:gd name="connsiteX2" fmla="*/ 751336 w 743079"/>
              <a:gd name="connsiteY2" fmla="*/ 27521 h 27521"/>
              <a:gd name="connsiteX3" fmla="*/ 759592 w 743079"/>
              <a:gd name="connsiteY3" fmla="*/ 0 h 27521"/>
              <a:gd name="connsiteX4" fmla="*/ 0 w 743079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079" h="27521">
                <a:moveTo>
                  <a:pt x="0" y="0"/>
                </a:moveTo>
                <a:cubicBezTo>
                  <a:pt x="2752" y="8257"/>
                  <a:pt x="5505" y="19265"/>
                  <a:pt x="8257" y="27521"/>
                </a:cubicBezTo>
                <a:lnTo>
                  <a:pt x="751336" y="27521"/>
                </a:lnTo>
                <a:cubicBezTo>
                  <a:pt x="754088" y="19265"/>
                  <a:pt x="756840" y="8257"/>
                  <a:pt x="75959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i$ḷîḓé"/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şļíďé"/>
          <p:cNvSpPr/>
          <p:nvPr/>
        </p:nvSpPr>
        <p:spPr>
          <a:xfrm>
            <a:off x="11091143" y="30273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ś1ïḑê"/>
          <p:cNvSpPr/>
          <p:nvPr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ṥľíḑê"/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š1iḓe"/>
          <p:cNvSpPr/>
          <p:nvPr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8" name="îṡḷiḍé"/>
          <p:cNvSpPr/>
          <p:nvPr userDrawn="1"/>
        </p:nvSpPr>
        <p:spPr>
          <a:xfrm>
            <a:off x="5220819" y="1177918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9" name="iṣļïďe"/>
          <p:cNvSpPr/>
          <p:nvPr/>
        </p:nvSpPr>
        <p:spPr>
          <a:xfrm>
            <a:off x="9880200" y="131277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0" name="išlïḑe"/>
          <p:cNvSpPr/>
          <p:nvPr/>
        </p:nvSpPr>
        <p:spPr>
          <a:xfrm>
            <a:off x="9943499" y="124947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1" name="iṩḻîḍê"/>
          <p:cNvSpPr/>
          <p:nvPr userDrawn="1"/>
        </p:nvSpPr>
        <p:spPr>
          <a:xfrm>
            <a:off x="7070260" y="63299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iŝḷïḍê"/>
          <p:cNvSpPr/>
          <p:nvPr userDrawn="1"/>
        </p:nvSpPr>
        <p:spPr>
          <a:xfrm>
            <a:off x="7133559" y="56969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îṥlíḓè"/>
          <p:cNvSpPr/>
          <p:nvPr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ïSḻíḑê"/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í$ļíḋé"/>
          <p:cNvSpPr/>
          <p:nvPr userDrawn="1"/>
        </p:nvSpPr>
        <p:spPr>
          <a:xfrm>
            <a:off x="6096001" y="1447628"/>
            <a:ext cx="1431115" cy="1431115"/>
          </a:xfrm>
          <a:custGeom>
            <a:avLst/>
            <a:gdLst>
              <a:gd name="connsiteX0" fmla="*/ 1436620 w 1431115"/>
              <a:gd name="connsiteY0" fmla="*/ 718310 h 1431115"/>
              <a:gd name="connsiteX1" fmla="*/ 718310 w 1431115"/>
              <a:gd name="connsiteY1" fmla="*/ 1436619 h 1431115"/>
              <a:gd name="connsiteX2" fmla="*/ 0 w 1431115"/>
              <a:gd name="connsiteY2" fmla="*/ 718310 h 1431115"/>
              <a:gd name="connsiteX3" fmla="*/ 718310 w 1431115"/>
              <a:gd name="connsiteY3" fmla="*/ 0 h 1431115"/>
              <a:gd name="connsiteX4" fmla="*/ 1436620 w 1431115"/>
              <a:gd name="connsiteY4" fmla="*/ 718310 h 1431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115" h="1431115">
                <a:moveTo>
                  <a:pt x="1436620" y="718310"/>
                </a:moveTo>
                <a:cubicBezTo>
                  <a:pt x="1436620" y="1115021"/>
                  <a:pt x="1115022" y="1436619"/>
                  <a:pt x="718310" y="1436619"/>
                </a:cubicBezTo>
                <a:cubicBezTo>
                  <a:pt x="321599" y="1436619"/>
                  <a:pt x="0" y="1115021"/>
                  <a:pt x="0" y="718310"/>
                </a:cubicBezTo>
                <a:cubicBezTo>
                  <a:pt x="0" y="321598"/>
                  <a:pt x="321598" y="0"/>
                  <a:pt x="718310" y="0"/>
                </a:cubicBezTo>
                <a:cubicBezTo>
                  <a:pt x="1115022" y="0"/>
                  <a:pt x="1436620" y="321598"/>
                  <a:pt x="1436620" y="71831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îśliďe"/>
          <p:cNvSpPr/>
          <p:nvPr userDrawn="1"/>
        </p:nvSpPr>
        <p:spPr>
          <a:xfrm>
            <a:off x="6310668" y="1662295"/>
            <a:ext cx="990772" cy="990772"/>
          </a:xfrm>
          <a:custGeom>
            <a:avLst/>
            <a:gdLst>
              <a:gd name="connsiteX0" fmla="*/ 1007285 w 990772"/>
              <a:gd name="connsiteY0" fmla="*/ 503642 h 990772"/>
              <a:gd name="connsiteX1" fmla="*/ 503642 w 990772"/>
              <a:gd name="connsiteY1" fmla="*/ 1007285 h 990772"/>
              <a:gd name="connsiteX2" fmla="*/ 0 w 990772"/>
              <a:gd name="connsiteY2" fmla="*/ 503642 h 990772"/>
              <a:gd name="connsiteX3" fmla="*/ 503642 w 990772"/>
              <a:gd name="connsiteY3" fmla="*/ 0 h 990772"/>
              <a:gd name="connsiteX4" fmla="*/ 1007285 w 990772"/>
              <a:gd name="connsiteY4" fmla="*/ 503642 h 990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72" h="990772">
                <a:moveTo>
                  <a:pt x="1007285" y="503642"/>
                </a:moveTo>
                <a:cubicBezTo>
                  <a:pt x="1007285" y="781796"/>
                  <a:pt x="781797" y="1007285"/>
                  <a:pt x="503642" y="1007285"/>
                </a:cubicBezTo>
                <a:cubicBezTo>
                  <a:pt x="225488" y="1007285"/>
                  <a:pt x="0" y="781796"/>
                  <a:pt x="0" y="503642"/>
                </a:cubicBezTo>
                <a:cubicBezTo>
                  <a:pt x="0" y="225488"/>
                  <a:pt x="225488" y="0"/>
                  <a:pt x="503642" y="0"/>
                </a:cubicBezTo>
                <a:cubicBezTo>
                  <a:pt x="781796" y="0"/>
                  <a:pt x="1007285" y="225488"/>
                  <a:pt x="1007285" y="503642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í$ḻïďé"/>
          <p:cNvSpPr/>
          <p:nvPr userDrawn="1"/>
        </p:nvSpPr>
        <p:spPr>
          <a:xfrm>
            <a:off x="7116945" y="2102134"/>
            <a:ext cx="165129" cy="192650"/>
          </a:xfrm>
          <a:custGeom>
            <a:avLst/>
            <a:gdLst>
              <a:gd name="connsiteX0" fmla="*/ 102698 w 165128"/>
              <a:gd name="connsiteY0" fmla="*/ 12515 h 192650"/>
              <a:gd name="connsiteX1" fmla="*/ 152831 w 165128"/>
              <a:gd name="connsiteY1" fmla="*/ 119747 h 192650"/>
              <a:gd name="connsiteX2" fmla="*/ 67655 w 165128"/>
              <a:gd name="connsiteY2" fmla="*/ 201948 h 192650"/>
              <a:gd name="connsiteX3" fmla="*/ 17522 w 165128"/>
              <a:gd name="connsiteY3" fmla="*/ 94716 h 192650"/>
              <a:gd name="connsiteX4" fmla="*/ 102698 w 165128"/>
              <a:gd name="connsiteY4" fmla="*/ 1251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28" h="192650">
                <a:moveTo>
                  <a:pt x="102698" y="12515"/>
                </a:moveTo>
                <a:cubicBezTo>
                  <a:pt x="140062" y="19427"/>
                  <a:pt x="162508" y="67437"/>
                  <a:pt x="152831" y="119747"/>
                </a:cubicBezTo>
                <a:cubicBezTo>
                  <a:pt x="143154" y="172057"/>
                  <a:pt x="105019" y="208860"/>
                  <a:pt x="67655" y="201948"/>
                </a:cubicBezTo>
                <a:cubicBezTo>
                  <a:pt x="30290" y="195036"/>
                  <a:pt x="7845" y="147026"/>
                  <a:pt x="17522" y="94716"/>
                </a:cubicBezTo>
                <a:cubicBezTo>
                  <a:pt x="27198" y="42406"/>
                  <a:pt x="65333" y="5603"/>
                  <a:pt x="102698" y="12515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iślîḋè"/>
          <p:cNvSpPr/>
          <p:nvPr userDrawn="1"/>
        </p:nvSpPr>
        <p:spPr>
          <a:xfrm>
            <a:off x="7143999" y="2319474"/>
            <a:ext cx="110086" cy="110086"/>
          </a:xfrm>
          <a:custGeom>
            <a:avLst/>
            <a:gdLst>
              <a:gd name="connsiteX0" fmla="*/ 86162 w 110085"/>
              <a:gd name="connsiteY0" fmla="*/ 20533 h 110085"/>
              <a:gd name="connsiteX1" fmla="*/ 87035 w 110085"/>
              <a:gd name="connsiteY1" fmla="*/ 81638 h 110085"/>
              <a:gd name="connsiteX2" fmla="*/ 29302 w 110085"/>
              <a:gd name="connsiteY2" fmla="*/ 101677 h 110085"/>
              <a:gd name="connsiteX3" fmla="*/ 28430 w 110085"/>
              <a:gd name="connsiteY3" fmla="*/ 40572 h 110085"/>
              <a:gd name="connsiteX4" fmla="*/ 86162 w 110085"/>
              <a:gd name="connsiteY4" fmla="*/ 20533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85" h="110085">
                <a:moveTo>
                  <a:pt x="86162" y="20533"/>
                </a:moveTo>
                <a:cubicBezTo>
                  <a:pt x="102346" y="31873"/>
                  <a:pt x="102736" y="59230"/>
                  <a:pt x="87035" y="81638"/>
                </a:cubicBezTo>
                <a:cubicBezTo>
                  <a:pt x="71333" y="104045"/>
                  <a:pt x="45486" y="113017"/>
                  <a:pt x="29302" y="101677"/>
                </a:cubicBezTo>
                <a:cubicBezTo>
                  <a:pt x="13119" y="90337"/>
                  <a:pt x="12729" y="62979"/>
                  <a:pt x="28430" y="40572"/>
                </a:cubicBezTo>
                <a:cubicBezTo>
                  <a:pt x="44132" y="18164"/>
                  <a:pt x="69979" y="9193"/>
                  <a:pt x="86162" y="20533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ŝ1îďé"/>
          <p:cNvSpPr/>
          <p:nvPr userDrawn="1"/>
        </p:nvSpPr>
        <p:spPr>
          <a:xfrm>
            <a:off x="7004544" y="2289928"/>
            <a:ext cx="137607" cy="165129"/>
          </a:xfrm>
          <a:custGeom>
            <a:avLst/>
            <a:gdLst>
              <a:gd name="connsiteX0" fmla="*/ 117309 w 137607"/>
              <a:gd name="connsiteY0" fmla="*/ 26860 h 165128"/>
              <a:gd name="connsiteX1" fmla="*/ 116117 w 137607"/>
              <a:gd name="connsiteY1" fmla="*/ 110057 h 165128"/>
              <a:gd name="connsiteX2" fmla="*/ 38308 w 137607"/>
              <a:gd name="connsiteY2" fmla="*/ 139533 h 165128"/>
              <a:gd name="connsiteX3" fmla="*/ 39500 w 137607"/>
              <a:gd name="connsiteY3" fmla="*/ 56337 h 165128"/>
              <a:gd name="connsiteX4" fmla="*/ 117309 w 137607"/>
              <a:gd name="connsiteY4" fmla="*/ 26860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7309" y="26860"/>
                </a:moveTo>
                <a:cubicBezTo>
                  <a:pt x="138466" y="41695"/>
                  <a:pt x="137933" y="78943"/>
                  <a:pt x="116117" y="110057"/>
                </a:cubicBezTo>
                <a:cubicBezTo>
                  <a:pt x="94302" y="141170"/>
                  <a:pt x="59466" y="154368"/>
                  <a:pt x="38308" y="139533"/>
                </a:cubicBezTo>
                <a:cubicBezTo>
                  <a:pt x="17151" y="124699"/>
                  <a:pt x="17685" y="87450"/>
                  <a:pt x="39500" y="56337"/>
                </a:cubicBezTo>
                <a:cubicBezTo>
                  <a:pt x="61315" y="25223"/>
                  <a:pt x="96152" y="12026"/>
                  <a:pt x="117309" y="26860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iṧḻïḋè"/>
          <p:cNvSpPr/>
          <p:nvPr/>
        </p:nvSpPr>
        <p:spPr>
          <a:xfrm>
            <a:off x="10626031" y="1417355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1" name="iŝľiḋe"/>
          <p:cNvSpPr/>
          <p:nvPr/>
        </p:nvSpPr>
        <p:spPr>
          <a:xfrm>
            <a:off x="10689330" y="1857698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îṣļïdé"/>
          <p:cNvSpPr/>
          <p:nvPr/>
        </p:nvSpPr>
        <p:spPr>
          <a:xfrm>
            <a:off x="10318615" y="1561383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îş1iḋè"/>
          <p:cNvSpPr/>
          <p:nvPr/>
        </p:nvSpPr>
        <p:spPr>
          <a:xfrm>
            <a:off x="11087871" y="1451417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4" name="ïṥḻíḑè"/>
          <p:cNvSpPr/>
          <p:nvPr/>
        </p:nvSpPr>
        <p:spPr>
          <a:xfrm>
            <a:off x="11303251" y="1585819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íşľîďe"/>
          <p:cNvSpPr/>
          <p:nvPr/>
        </p:nvSpPr>
        <p:spPr>
          <a:xfrm>
            <a:off x="11221665" y="1664342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íṡḻîḑe"/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8" name="íş1idé"/>
          <p:cNvSpPr/>
          <p:nvPr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9" name="ïšļîdê"/>
          <p:cNvSpPr/>
          <p:nvPr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0" name="îSľîdé"/>
          <p:cNvSpPr/>
          <p:nvPr/>
        </p:nvSpPr>
        <p:spPr>
          <a:xfrm>
            <a:off x="7818843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E8C2A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1" name="íş1ïḑe"/>
          <p:cNvSpPr/>
          <p:nvPr/>
        </p:nvSpPr>
        <p:spPr>
          <a:xfrm>
            <a:off x="8795855" y="5776752"/>
            <a:ext cx="27521" cy="935729"/>
          </a:xfrm>
          <a:custGeom>
            <a:avLst/>
            <a:gdLst>
              <a:gd name="connsiteX0" fmla="*/ 0 w 0"/>
              <a:gd name="connsiteY0" fmla="*/ 0 h 935729"/>
              <a:gd name="connsiteX1" fmla="*/ 22017 w 0"/>
              <a:gd name="connsiteY1" fmla="*/ 0 h 935729"/>
              <a:gd name="connsiteX2" fmla="*/ 22017 w 0"/>
              <a:gd name="connsiteY2" fmla="*/ 949490 h 935729"/>
              <a:gd name="connsiteX3" fmla="*/ 0 w 0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h="935729">
                <a:moveTo>
                  <a:pt x="0" y="0"/>
                </a:moveTo>
                <a:lnTo>
                  <a:pt x="22017" y="0"/>
                </a:lnTo>
                <a:lnTo>
                  <a:pt x="22017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FFDBC4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2" name="ïşḷíḑé"/>
          <p:cNvSpPr/>
          <p:nvPr/>
        </p:nvSpPr>
        <p:spPr>
          <a:xfrm>
            <a:off x="8817872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3" name="îSlïḓè"/>
          <p:cNvSpPr/>
          <p:nvPr/>
        </p:nvSpPr>
        <p:spPr>
          <a:xfrm>
            <a:off x="7417030" y="5440990"/>
            <a:ext cx="1376072" cy="330257"/>
          </a:xfrm>
          <a:custGeom>
            <a:avLst/>
            <a:gdLst>
              <a:gd name="connsiteX0" fmla="*/ 1400841 w 1376072"/>
              <a:gd name="connsiteY0" fmla="*/ 335762 h 330257"/>
              <a:gd name="connsiteX1" fmla="*/ 401813 w 1376072"/>
              <a:gd name="connsiteY1" fmla="*/ 335762 h 330257"/>
              <a:gd name="connsiteX2" fmla="*/ 0 w 1376072"/>
              <a:gd name="connsiteY2" fmla="*/ 0 h 330257"/>
              <a:gd name="connsiteX3" fmla="*/ 999028 w 1376072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6072" h="330257">
                <a:moveTo>
                  <a:pt x="1400841" y="335762"/>
                </a:moveTo>
                <a:lnTo>
                  <a:pt x="401813" y="335762"/>
                </a:lnTo>
                <a:lnTo>
                  <a:pt x="0" y="0"/>
                </a:lnTo>
                <a:lnTo>
                  <a:pt x="999028" y="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4" name="iṧľíḍé"/>
          <p:cNvSpPr/>
          <p:nvPr/>
        </p:nvSpPr>
        <p:spPr>
          <a:xfrm>
            <a:off x="8817872" y="5440990"/>
            <a:ext cx="1403594" cy="330257"/>
          </a:xfrm>
          <a:custGeom>
            <a:avLst/>
            <a:gdLst>
              <a:gd name="connsiteX0" fmla="*/ 0 w 1403593"/>
              <a:gd name="connsiteY0" fmla="*/ 335762 h 330257"/>
              <a:gd name="connsiteX1" fmla="*/ 1001780 w 1403593"/>
              <a:gd name="connsiteY1" fmla="*/ 335762 h 330257"/>
              <a:gd name="connsiteX2" fmla="*/ 1403594 w 1403593"/>
              <a:gd name="connsiteY2" fmla="*/ 0 h 330257"/>
              <a:gd name="connsiteX3" fmla="*/ 401813 w 1403593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3593" h="330257">
                <a:moveTo>
                  <a:pt x="0" y="335762"/>
                </a:moveTo>
                <a:lnTo>
                  <a:pt x="1001780" y="335762"/>
                </a:lnTo>
                <a:lnTo>
                  <a:pt x="1403594" y="0"/>
                </a:lnTo>
                <a:lnTo>
                  <a:pt x="401813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5" name="ïšḻídê"/>
          <p:cNvSpPr/>
          <p:nvPr/>
        </p:nvSpPr>
        <p:spPr>
          <a:xfrm>
            <a:off x="8817872" y="5776751"/>
            <a:ext cx="990772" cy="467865"/>
          </a:xfrm>
          <a:custGeom>
            <a:avLst/>
            <a:gdLst>
              <a:gd name="connsiteX0" fmla="*/ 0 w 990772"/>
              <a:gd name="connsiteY0" fmla="*/ 0 h 467864"/>
              <a:gd name="connsiteX1" fmla="*/ 1001780 w 990772"/>
              <a:gd name="connsiteY1" fmla="*/ 476121 h 467864"/>
              <a:gd name="connsiteX2" fmla="*/ 1001780 w 990772"/>
              <a:gd name="connsiteY2" fmla="*/ 0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0772" h="467864">
                <a:moveTo>
                  <a:pt x="0" y="0"/>
                </a:moveTo>
                <a:lnTo>
                  <a:pt x="1001780" y="476121"/>
                </a:lnTo>
                <a:lnTo>
                  <a:pt x="1001780" y="0"/>
                </a:lnTo>
                <a:close/>
              </a:path>
            </a:pathLst>
          </a:custGeom>
          <a:solidFill>
            <a:srgbClr val="F0D8C7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6" name="îṧliḋé"/>
          <p:cNvSpPr/>
          <p:nvPr/>
        </p:nvSpPr>
        <p:spPr>
          <a:xfrm>
            <a:off x="8173870" y="6517079"/>
            <a:ext cx="275214" cy="192650"/>
          </a:xfrm>
          <a:custGeom>
            <a:avLst/>
            <a:gdLst>
              <a:gd name="connsiteX0" fmla="*/ 0 w 275214"/>
              <a:gd name="connsiteY0" fmla="*/ 209163 h 192650"/>
              <a:gd name="connsiteX1" fmla="*/ 0 w 275214"/>
              <a:gd name="connsiteY1" fmla="*/ 0 h 192650"/>
              <a:gd name="connsiteX2" fmla="*/ 35778 w 275214"/>
              <a:gd name="connsiteY2" fmla="*/ 19265 h 192650"/>
              <a:gd name="connsiteX3" fmla="*/ 71556 w 275214"/>
              <a:gd name="connsiteY3" fmla="*/ 0 h 192650"/>
              <a:gd name="connsiteX4" fmla="*/ 107333 w 275214"/>
              <a:gd name="connsiteY4" fmla="*/ 19265 h 192650"/>
              <a:gd name="connsiteX5" fmla="*/ 145863 w 275214"/>
              <a:gd name="connsiteY5" fmla="*/ 0 h 192650"/>
              <a:gd name="connsiteX6" fmla="*/ 181642 w 275214"/>
              <a:gd name="connsiteY6" fmla="*/ 19265 h 192650"/>
              <a:gd name="connsiteX7" fmla="*/ 217419 w 275214"/>
              <a:gd name="connsiteY7" fmla="*/ 0 h 192650"/>
              <a:gd name="connsiteX8" fmla="*/ 253198 w 275214"/>
              <a:gd name="connsiteY8" fmla="*/ 19265 h 192650"/>
              <a:gd name="connsiteX9" fmla="*/ 288975 w 275214"/>
              <a:gd name="connsiteY9" fmla="*/ 0 h 192650"/>
              <a:gd name="connsiteX10" fmla="*/ 288975 w 275214"/>
              <a:gd name="connsiteY10" fmla="*/ 209163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4" h="192650">
                <a:moveTo>
                  <a:pt x="0" y="209163"/>
                </a:moveTo>
                <a:lnTo>
                  <a:pt x="0" y="0"/>
                </a:lnTo>
                <a:lnTo>
                  <a:pt x="35778" y="19265"/>
                </a:lnTo>
                <a:lnTo>
                  <a:pt x="71556" y="0"/>
                </a:lnTo>
                <a:lnTo>
                  <a:pt x="107333" y="19265"/>
                </a:lnTo>
                <a:lnTo>
                  <a:pt x="145863" y="0"/>
                </a:lnTo>
                <a:lnTo>
                  <a:pt x="181642" y="19265"/>
                </a:lnTo>
                <a:lnTo>
                  <a:pt x="217419" y="0"/>
                </a:lnTo>
                <a:lnTo>
                  <a:pt x="253198" y="19265"/>
                </a:lnTo>
                <a:lnTo>
                  <a:pt x="288975" y="0"/>
                </a:lnTo>
                <a:lnTo>
                  <a:pt x="288975" y="209163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7" name="iṡlïḋe"/>
          <p:cNvSpPr/>
          <p:nvPr/>
        </p:nvSpPr>
        <p:spPr>
          <a:xfrm>
            <a:off x="8259187" y="6335437"/>
            <a:ext cx="110086" cy="27521"/>
          </a:xfrm>
          <a:custGeom>
            <a:avLst/>
            <a:gdLst>
              <a:gd name="connsiteX0" fmla="*/ 121094 w 110085"/>
              <a:gd name="connsiteY0" fmla="*/ 11009 h 0"/>
              <a:gd name="connsiteX1" fmla="*/ 110086 w 110085"/>
              <a:gd name="connsiteY1" fmla="*/ 22017 h 0"/>
              <a:gd name="connsiteX2" fmla="*/ 11008 w 110085"/>
              <a:gd name="connsiteY2" fmla="*/ 22017 h 0"/>
              <a:gd name="connsiteX3" fmla="*/ 0 w 110085"/>
              <a:gd name="connsiteY3" fmla="*/ 11009 h 0"/>
              <a:gd name="connsiteX4" fmla="*/ 0 w 110085"/>
              <a:gd name="connsiteY4" fmla="*/ 11009 h 0"/>
              <a:gd name="connsiteX5" fmla="*/ 11008 w 110085"/>
              <a:gd name="connsiteY5" fmla="*/ 0 h 0"/>
              <a:gd name="connsiteX6" fmla="*/ 110086 w 110085"/>
              <a:gd name="connsiteY6" fmla="*/ 0 h 0"/>
              <a:gd name="connsiteX7" fmla="*/ 121094 w 110085"/>
              <a:gd name="connsiteY7" fmla="*/ 11009 h 0"/>
              <a:gd name="connsiteX8" fmla="*/ 121094 w 110085"/>
              <a:gd name="connsiteY8" fmla="*/ 11009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085">
                <a:moveTo>
                  <a:pt x="121094" y="11009"/>
                </a:moveTo>
                <a:cubicBezTo>
                  <a:pt x="121094" y="16513"/>
                  <a:pt x="115590" y="22017"/>
                  <a:pt x="110086" y="22017"/>
                </a:cubicBezTo>
                <a:lnTo>
                  <a:pt x="11008" y="22017"/>
                </a:lnTo>
                <a:cubicBezTo>
                  <a:pt x="5504" y="22017"/>
                  <a:pt x="0" y="16513"/>
                  <a:pt x="0" y="11009"/>
                </a:cubicBezTo>
                <a:lnTo>
                  <a:pt x="0" y="11009"/>
                </a:lnTo>
                <a:cubicBezTo>
                  <a:pt x="0" y="5504"/>
                  <a:pt x="5504" y="0"/>
                  <a:pt x="11008" y="0"/>
                </a:cubicBezTo>
                <a:lnTo>
                  <a:pt x="110086" y="0"/>
                </a:lnTo>
                <a:cubicBezTo>
                  <a:pt x="115590" y="0"/>
                  <a:pt x="121094" y="5504"/>
                  <a:pt x="121094" y="11009"/>
                </a:cubicBezTo>
                <a:lnTo>
                  <a:pt x="121094" y="11009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8" name="ïṡlïďe"/>
          <p:cNvSpPr/>
          <p:nvPr/>
        </p:nvSpPr>
        <p:spPr>
          <a:xfrm>
            <a:off x="8267443" y="6365711"/>
            <a:ext cx="82564" cy="27521"/>
          </a:xfrm>
          <a:custGeom>
            <a:avLst/>
            <a:gdLst>
              <a:gd name="connsiteX0" fmla="*/ 104582 w 82564"/>
              <a:gd name="connsiteY0" fmla="*/ 11008 h 0"/>
              <a:gd name="connsiteX1" fmla="*/ 93573 w 82564"/>
              <a:gd name="connsiteY1" fmla="*/ 22017 h 0"/>
              <a:gd name="connsiteX2" fmla="*/ 11008 w 82564"/>
              <a:gd name="connsiteY2" fmla="*/ 22017 h 0"/>
              <a:gd name="connsiteX3" fmla="*/ 0 w 82564"/>
              <a:gd name="connsiteY3" fmla="*/ 11008 h 0"/>
              <a:gd name="connsiteX4" fmla="*/ 0 w 82564"/>
              <a:gd name="connsiteY4" fmla="*/ 11008 h 0"/>
              <a:gd name="connsiteX5" fmla="*/ 11008 w 82564"/>
              <a:gd name="connsiteY5" fmla="*/ 0 h 0"/>
              <a:gd name="connsiteX6" fmla="*/ 93573 w 82564"/>
              <a:gd name="connsiteY6" fmla="*/ 0 h 0"/>
              <a:gd name="connsiteX7" fmla="*/ 104582 w 82564"/>
              <a:gd name="connsiteY7" fmla="*/ 11008 h 0"/>
              <a:gd name="connsiteX8" fmla="*/ 104582 w 82564"/>
              <a:gd name="connsiteY8" fmla="*/ 11008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564">
                <a:moveTo>
                  <a:pt x="104582" y="11008"/>
                </a:moveTo>
                <a:cubicBezTo>
                  <a:pt x="104582" y="16513"/>
                  <a:pt x="99077" y="22017"/>
                  <a:pt x="93573" y="22017"/>
                </a:cubicBezTo>
                <a:lnTo>
                  <a:pt x="11008" y="22017"/>
                </a:lnTo>
                <a:cubicBezTo>
                  <a:pt x="5505" y="22017"/>
                  <a:pt x="0" y="16513"/>
                  <a:pt x="0" y="11008"/>
                </a:cubicBezTo>
                <a:lnTo>
                  <a:pt x="0" y="11008"/>
                </a:lnTo>
                <a:cubicBezTo>
                  <a:pt x="0" y="5504"/>
                  <a:pt x="5505" y="0"/>
                  <a:pt x="11008" y="0"/>
                </a:cubicBezTo>
                <a:lnTo>
                  <a:pt x="93573" y="0"/>
                </a:lnTo>
                <a:cubicBezTo>
                  <a:pt x="99077" y="0"/>
                  <a:pt x="104582" y="5504"/>
                  <a:pt x="104582" y="11008"/>
                </a:cubicBezTo>
                <a:lnTo>
                  <a:pt x="104582" y="11008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9" name="îṣliḋè"/>
          <p:cNvSpPr/>
          <p:nvPr/>
        </p:nvSpPr>
        <p:spPr>
          <a:xfrm>
            <a:off x="8291133" y="6398736"/>
            <a:ext cx="27521" cy="27521"/>
          </a:xfrm>
          <a:custGeom>
            <a:avLst/>
            <a:gdLst>
              <a:gd name="connsiteX0" fmla="*/ 36858 w 27521"/>
              <a:gd name="connsiteY0" fmla="*/ 0 h 27521"/>
              <a:gd name="connsiteX1" fmla="*/ 17592 w 27521"/>
              <a:gd name="connsiteY1" fmla="*/ 0 h 27521"/>
              <a:gd name="connsiteX2" fmla="*/ 6584 w 27521"/>
              <a:gd name="connsiteY2" fmla="*/ 0 h 27521"/>
              <a:gd name="connsiteX3" fmla="*/ 1079 w 27521"/>
              <a:gd name="connsiteY3" fmla="*/ 8257 h 27521"/>
              <a:gd name="connsiteX4" fmla="*/ 6584 w 27521"/>
              <a:gd name="connsiteY4" fmla="*/ 19265 h 27521"/>
              <a:gd name="connsiteX5" fmla="*/ 17592 w 27521"/>
              <a:gd name="connsiteY5" fmla="*/ 27521 h 27521"/>
              <a:gd name="connsiteX6" fmla="*/ 34105 w 27521"/>
              <a:gd name="connsiteY6" fmla="*/ 27521 h 27521"/>
              <a:gd name="connsiteX7" fmla="*/ 45114 w 27521"/>
              <a:gd name="connsiteY7" fmla="*/ 19265 h 27521"/>
              <a:gd name="connsiteX8" fmla="*/ 50618 w 27521"/>
              <a:gd name="connsiteY8" fmla="*/ 8257 h 27521"/>
              <a:gd name="connsiteX9" fmla="*/ 45114 w 27521"/>
              <a:gd name="connsiteY9" fmla="*/ 0 h 27521"/>
              <a:gd name="connsiteX10" fmla="*/ 36858 w 27521"/>
              <a:gd name="connsiteY10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" h="27521">
                <a:moveTo>
                  <a:pt x="36858" y="0"/>
                </a:moveTo>
                <a:cubicBezTo>
                  <a:pt x="31353" y="0"/>
                  <a:pt x="23097" y="0"/>
                  <a:pt x="17592" y="0"/>
                </a:cubicBezTo>
                <a:lnTo>
                  <a:pt x="6584" y="0"/>
                </a:lnTo>
                <a:cubicBezTo>
                  <a:pt x="1079" y="0"/>
                  <a:pt x="-1672" y="2752"/>
                  <a:pt x="1079" y="8257"/>
                </a:cubicBezTo>
                <a:lnTo>
                  <a:pt x="6584" y="19265"/>
                </a:lnTo>
                <a:cubicBezTo>
                  <a:pt x="9336" y="24769"/>
                  <a:pt x="14840" y="27521"/>
                  <a:pt x="17592" y="27521"/>
                </a:cubicBezTo>
                <a:cubicBezTo>
                  <a:pt x="23097" y="27521"/>
                  <a:pt x="31353" y="27521"/>
                  <a:pt x="34105" y="27521"/>
                </a:cubicBezTo>
                <a:cubicBezTo>
                  <a:pt x="36858" y="27521"/>
                  <a:pt x="45114" y="24769"/>
                  <a:pt x="45114" y="19265"/>
                </a:cubicBezTo>
                <a:lnTo>
                  <a:pt x="50618" y="8257"/>
                </a:lnTo>
                <a:cubicBezTo>
                  <a:pt x="53371" y="2752"/>
                  <a:pt x="50618" y="0"/>
                  <a:pt x="45114" y="0"/>
                </a:cubicBezTo>
                <a:lnTo>
                  <a:pt x="36858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0" name="iSľídê"/>
          <p:cNvSpPr/>
          <p:nvPr/>
        </p:nvSpPr>
        <p:spPr>
          <a:xfrm>
            <a:off x="8173870" y="5977658"/>
            <a:ext cx="275214" cy="330257"/>
          </a:xfrm>
          <a:custGeom>
            <a:avLst/>
            <a:gdLst>
              <a:gd name="connsiteX0" fmla="*/ 145863 w 275214"/>
              <a:gd name="connsiteY0" fmla="*/ 0 h 330257"/>
              <a:gd name="connsiteX1" fmla="*/ 0 w 275214"/>
              <a:gd name="connsiteY1" fmla="*/ 145864 h 330257"/>
              <a:gd name="connsiteX2" fmla="*/ 44034 w 275214"/>
              <a:gd name="connsiteY2" fmla="*/ 250445 h 330257"/>
              <a:gd name="connsiteX3" fmla="*/ 44034 w 275214"/>
              <a:gd name="connsiteY3" fmla="*/ 250445 h 330257"/>
              <a:gd name="connsiteX4" fmla="*/ 85317 w 275214"/>
              <a:gd name="connsiteY4" fmla="*/ 330257 h 330257"/>
              <a:gd name="connsiteX5" fmla="*/ 85317 w 275214"/>
              <a:gd name="connsiteY5" fmla="*/ 330257 h 330257"/>
              <a:gd name="connsiteX6" fmla="*/ 104581 w 275214"/>
              <a:gd name="connsiteY6" fmla="*/ 352275 h 330257"/>
              <a:gd name="connsiteX7" fmla="*/ 145863 w 275214"/>
              <a:gd name="connsiteY7" fmla="*/ 352275 h 330257"/>
              <a:gd name="connsiteX8" fmla="*/ 187145 w 275214"/>
              <a:gd name="connsiteY8" fmla="*/ 352275 h 330257"/>
              <a:gd name="connsiteX9" fmla="*/ 206411 w 275214"/>
              <a:gd name="connsiteY9" fmla="*/ 330257 h 330257"/>
              <a:gd name="connsiteX10" fmla="*/ 206411 w 275214"/>
              <a:gd name="connsiteY10" fmla="*/ 333010 h 330257"/>
              <a:gd name="connsiteX11" fmla="*/ 247693 w 275214"/>
              <a:gd name="connsiteY11" fmla="*/ 250445 h 330257"/>
              <a:gd name="connsiteX12" fmla="*/ 247693 w 275214"/>
              <a:gd name="connsiteY12" fmla="*/ 250445 h 330257"/>
              <a:gd name="connsiteX13" fmla="*/ 291727 w 275214"/>
              <a:gd name="connsiteY13" fmla="*/ 145864 h 330257"/>
              <a:gd name="connsiteX14" fmla="*/ 145863 w 275214"/>
              <a:gd name="connsiteY1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5214" h="330257">
                <a:moveTo>
                  <a:pt x="145863" y="0"/>
                </a:moveTo>
                <a:cubicBezTo>
                  <a:pt x="63299" y="0"/>
                  <a:pt x="0" y="66052"/>
                  <a:pt x="0" y="145864"/>
                </a:cubicBezTo>
                <a:cubicBezTo>
                  <a:pt x="0" y="187146"/>
                  <a:pt x="16513" y="222924"/>
                  <a:pt x="44034" y="250445"/>
                </a:cubicBezTo>
                <a:lnTo>
                  <a:pt x="44034" y="250445"/>
                </a:lnTo>
                <a:cubicBezTo>
                  <a:pt x="68804" y="277967"/>
                  <a:pt x="79812" y="310992"/>
                  <a:pt x="85317" y="330257"/>
                </a:cubicBezTo>
                <a:lnTo>
                  <a:pt x="85317" y="330257"/>
                </a:lnTo>
                <a:cubicBezTo>
                  <a:pt x="88069" y="344018"/>
                  <a:pt x="99077" y="352275"/>
                  <a:pt x="104581" y="352275"/>
                </a:cubicBezTo>
                <a:lnTo>
                  <a:pt x="145863" y="352275"/>
                </a:lnTo>
                <a:lnTo>
                  <a:pt x="187145" y="352275"/>
                </a:lnTo>
                <a:cubicBezTo>
                  <a:pt x="192650" y="352275"/>
                  <a:pt x="203659" y="346770"/>
                  <a:pt x="206411" y="330257"/>
                </a:cubicBezTo>
                <a:lnTo>
                  <a:pt x="206411" y="333010"/>
                </a:lnTo>
                <a:cubicBezTo>
                  <a:pt x="211915" y="313745"/>
                  <a:pt x="222924" y="280719"/>
                  <a:pt x="247693" y="250445"/>
                </a:cubicBezTo>
                <a:lnTo>
                  <a:pt x="247693" y="250445"/>
                </a:lnTo>
                <a:cubicBezTo>
                  <a:pt x="275214" y="222924"/>
                  <a:pt x="291727" y="187146"/>
                  <a:pt x="291727" y="145864"/>
                </a:cubicBezTo>
                <a:cubicBezTo>
                  <a:pt x="291727" y="66052"/>
                  <a:pt x="225676" y="0"/>
                  <a:pt x="145863" y="0"/>
                </a:cubicBez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Freepptbackgrounds.net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Download free</a:t>
            </a:r>
            <a:endParaRPr lang="tr-TR" altLang="zh-CN" dirty="0"/>
          </a:p>
          <a:p>
            <a:pPr lvl="1"/>
            <a:r>
              <a:rPr lang="en-US" altLang="zh-CN" dirty="0" err="1"/>
              <a:t>Powerpoint</a:t>
            </a:r>
            <a:r>
              <a:rPr lang="en-US" altLang="zh-CN" dirty="0"/>
              <a:t> Template</a:t>
            </a:r>
            <a:endParaRPr lang="tr-TR" altLang="zh-CN" dirty="0"/>
          </a:p>
          <a:p>
            <a:pPr lvl="2"/>
            <a:r>
              <a:rPr lang="en-US" altLang="zh-CN" dirty="0"/>
              <a:t>and </a:t>
            </a:r>
            <a:endParaRPr lang="tr-TR" altLang="zh-CN" dirty="0"/>
          </a:p>
          <a:p>
            <a:pPr lvl="3"/>
            <a:r>
              <a:rPr lang="en-US" altLang="zh-CN" dirty="0"/>
              <a:t>Google slides</a:t>
            </a:r>
            <a:endParaRPr lang="tr-TR" altLang="zh-CN" dirty="0"/>
          </a:p>
          <a:p>
            <a:pPr lvl="4"/>
            <a:r>
              <a:rPr lang="en-US" altLang="zh-CN" dirty="0"/>
              <a:t>Presentation for you.</a:t>
            </a:r>
            <a:endParaRPr lang="zh-CN" altLang="en-US" dirty="0"/>
          </a:p>
        </p:txBody>
      </p:sp>
      <p:sp>
        <p:nvSpPr>
          <p:cNvPr id="9" name="矩形 8"/>
          <p:cNvSpPr/>
          <p:nvPr userDrawn="1"/>
        </p:nvSpPr>
        <p:spPr>
          <a:xfrm>
            <a:off x="9602485" y="5326225"/>
            <a:ext cx="7751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模板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moban/     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行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hangye/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节日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jieri/   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素材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sucai/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背景图片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beijing/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图表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tubiao/    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优秀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xiazai/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powerpoint/      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ord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word/              Excel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教程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excel/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资料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ziliao/        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课件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kejian/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范文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fanwen/             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试卷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shiti/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教案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jiaoan/      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字体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www.1ppt.com/ziti/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SimSun" panose="02010600030101010101" pitchFamily="2" charset="-122"/>
              </a:rPr>
              <a:t> </a:t>
            </a:r>
            <a:endParaRPr lang="zh-CN" altLang="en-US" sz="100" dirty="0">
              <a:solidFill>
                <a:prstClr val="white"/>
              </a:solidFill>
              <a:latin typeface="Calibri" panose="020F0502020204030204"/>
              <a:ea typeface="SimSun" panose="02010600030101010101" pitchFamily="2" charset="-122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>
                  <a:alpha val="10000"/>
                </a:srgbClr>
              </a:gs>
              <a:gs pos="100000">
                <a:srgbClr val="4F86FF">
                  <a:alpha val="10000"/>
                </a:srgbClr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" name="í$ḷîḑê"/>
          <p:cNvSpPr/>
          <p:nvPr userDrawn="1"/>
        </p:nvSpPr>
        <p:spPr>
          <a:xfrm>
            <a:off x="-2359" y="-38530"/>
            <a:ext cx="12192000" cy="873669"/>
          </a:xfrm>
          <a:prstGeom prst="rect">
            <a:avLst/>
          </a:prstGeom>
          <a:gradFill>
            <a:gsLst>
              <a:gs pos="0">
                <a:srgbClr val="2DAA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i$ḷîḓé"/>
          <p:cNvSpPr/>
          <p:nvPr userDrawn="1"/>
        </p:nvSpPr>
        <p:spPr>
          <a:xfrm>
            <a:off x="2603530" y="253020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îşļíďé"/>
          <p:cNvSpPr/>
          <p:nvPr userDrawn="1"/>
        </p:nvSpPr>
        <p:spPr>
          <a:xfrm>
            <a:off x="11091143" y="1245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1" name="iṥľíḑê"/>
          <p:cNvSpPr/>
          <p:nvPr userDrawn="1"/>
        </p:nvSpPr>
        <p:spPr>
          <a:xfrm>
            <a:off x="985269" y="608165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ṡḷiḍé"/>
          <p:cNvSpPr/>
          <p:nvPr userDrawn="1"/>
        </p:nvSpPr>
        <p:spPr>
          <a:xfrm>
            <a:off x="5220819" y="219994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ṣļïďe"/>
          <p:cNvSpPr/>
          <p:nvPr userDrawn="1"/>
        </p:nvSpPr>
        <p:spPr>
          <a:xfrm>
            <a:off x="9880200" y="383877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šlïḑe"/>
          <p:cNvSpPr/>
          <p:nvPr userDrawn="1"/>
        </p:nvSpPr>
        <p:spPr>
          <a:xfrm>
            <a:off x="9943499" y="320578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ṩḻîḍê"/>
          <p:cNvSpPr/>
          <p:nvPr userDrawn="1"/>
        </p:nvSpPr>
        <p:spPr>
          <a:xfrm>
            <a:off x="7070260" y="313685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ŝḷïḍê"/>
          <p:cNvSpPr/>
          <p:nvPr userDrawn="1"/>
        </p:nvSpPr>
        <p:spPr>
          <a:xfrm>
            <a:off x="7133559" y="250386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iṧḻïḋè"/>
          <p:cNvSpPr/>
          <p:nvPr userDrawn="1"/>
        </p:nvSpPr>
        <p:spPr>
          <a:xfrm>
            <a:off x="10626031" y="9497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iŝľiḋe"/>
          <p:cNvSpPr/>
          <p:nvPr userDrawn="1"/>
        </p:nvSpPr>
        <p:spPr>
          <a:xfrm>
            <a:off x="10689330" y="449840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îṣļïdé"/>
          <p:cNvSpPr/>
          <p:nvPr userDrawn="1"/>
        </p:nvSpPr>
        <p:spPr>
          <a:xfrm>
            <a:off x="10318615" y="153525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îş1iḋè"/>
          <p:cNvSpPr/>
          <p:nvPr userDrawn="1"/>
        </p:nvSpPr>
        <p:spPr>
          <a:xfrm>
            <a:off x="11087871" y="43559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ṥḻíḑè"/>
          <p:cNvSpPr/>
          <p:nvPr userDrawn="1"/>
        </p:nvSpPr>
        <p:spPr>
          <a:xfrm>
            <a:off x="11303251" y="177961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íşľîďe"/>
          <p:cNvSpPr/>
          <p:nvPr userDrawn="1"/>
        </p:nvSpPr>
        <p:spPr>
          <a:xfrm>
            <a:off x="11221665" y="256484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íş1idé"/>
          <p:cNvSpPr/>
          <p:nvPr userDrawn="1"/>
        </p:nvSpPr>
        <p:spPr>
          <a:xfrm>
            <a:off x="9912421" y="39937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ïšļîdê"/>
          <p:cNvSpPr/>
          <p:nvPr userDrawn="1"/>
        </p:nvSpPr>
        <p:spPr>
          <a:xfrm>
            <a:off x="9880348" y="-70108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6">
    <p:bg>
      <p:bgPr>
        <a:solidFill>
          <a:srgbClr val="4F8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 rot="20138802">
            <a:off x="1804890" y="1648101"/>
            <a:ext cx="1257730" cy="3170470"/>
            <a:chOff x="8160109" y="891695"/>
            <a:chExt cx="1257730" cy="3170470"/>
          </a:xfrm>
        </p:grpSpPr>
        <p:sp>
          <p:nvSpPr>
            <p:cNvPr id="7" name="íṩḷîḓè"/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iṡļíḍe"/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íšḻïḓé"/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îṥļïďe"/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iṧlîḍê"/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íSļíḑè"/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ísḻïdê"/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ïšļíďe"/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ïṣļíḋè"/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ṩļîḍê"/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iṩḻîdè"/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îSlîḍé"/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îšľîḋe"/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2" name="îṧḻiḓê"/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Sḷíḋe"/>
          <p:cNvSpPr/>
          <p:nvPr userDrawn="1"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ïŝḷïḑé"/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sḻiďê"/>
          <p:cNvSpPr/>
          <p:nvPr userDrawn="1"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ï$1iḓè"/>
          <p:cNvSpPr/>
          <p:nvPr userDrawn="1"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ïŝlíďé"/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i$ļiḍê"/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6" name="î$ḻiḓê"/>
          <p:cNvSpPr/>
          <p:nvPr userDrawn="1"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ïṥlîḑe"/>
          <p:cNvSpPr/>
          <p:nvPr userDrawn="1"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385133" y="1611827"/>
            <a:ext cx="10845798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Freepptbackgrounds.net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5133" y="3918063"/>
            <a:ext cx="10845798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www.freepptbackgrounds.net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3385135" y="3621792"/>
            <a:ext cx="1084579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www.freepptbackgrounds.net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xx@gmail.com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ḷi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ṩḷiḋê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ï$líḍé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ļîḍe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Microsoft YaHei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îṣliḑê"/>
          <p:cNvSpPr>
            <a:spLocks noGrp="1"/>
          </p:cNvSpPr>
          <p:nvPr>
            <p:ph type="ctrTitle"/>
          </p:nvPr>
        </p:nvSpPr>
        <p:spPr>
          <a:xfrm>
            <a:off x="1058688" y="3135949"/>
            <a:ext cx="6119586" cy="2760998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en-US" altLang="zh-CN" sz="6000" dirty="0">
                <a:solidFill>
                  <a:srgbClr val="538D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Microsoft YaHei" panose="020B0503020204020204" pitchFamily="34" charset="-122"/>
                <a:cs typeface="Roboto" panose="02000000000000000000" pitchFamily="2" charset="0"/>
              </a:rPr>
              <a:t>WEB BOOKING MOVIE</a:t>
            </a:r>
            <a:endParaRPr lang="zh-CN" altLang="en-US" sz="6000" dirty="0">
              <a:solidFill>
                <a:srgbClr val="538D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icrosoft YaHei" panose="020B0503020204020204" pitchFamily="34" charset="-122"/>
              <a:cs typeface="Roboto" panose="02000000000000000000" pitchFamily="2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5902" y="457200"/>
            <a:ext cx="117472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Ồ ÁN CUỐI KÌ: NHẬP MÔN CÔNG NGHỆ PHẦN MỀM </a:t>
            </a:r>
          </a:p>
          <a:p>
            <a:endParaRPr lang="en-US" sz="3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46041" y="1287624"/>
            <a:ext cx="59249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uyễ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ị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inh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uyề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       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ù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ấ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ộc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       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ồ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uấ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hanh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+mj-lt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55377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FRONT - END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55377" y="1003464"/>
            <a:ext cx="2612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Search </a:t>
            </a: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2297" y="1535249"/>
            <a:ext cx="8669677" cy="4716259"/>
          </a:xfrm>
          <a:prstGeom prst="rect">
            <a:avLst/>
          </a:prstGeom>
        </p:spPr>
      </p:pic>
      <p:cxnSp>
        <p:nvCxnSpPr>
          <p:cNvPr id="66" name="Straight Arrow Connector 65"/>
          <p:cNvCxnSpPr/>
          <p:nvPr/>
        </p:nvCxnSpPr>
        <p:spPr>
          <a:xfrm>
            <a:off x="7996335" y="2286000"/>
            <a:ext cx="2351314" cy="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10347649" y="1996751"/>
            <a:ext cx="17728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Khi search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ừ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ó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ê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tabase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uấ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ợ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ý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ê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55377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RONT 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120" y="975360"/>
            <a:ext cx="8696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w list movi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639290" y="2228671"/>
            <a:ext cx="43520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w list movie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ấ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tabase.</a:t>
            </a:r>
          </a:p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ừ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ể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ị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ê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á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á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Khi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uyTickets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uyể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ỗ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ồ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Khi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ả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uyể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chi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ế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20" y="1580475"/>
            <a:ext cx="7371152" cy="4421683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55377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RONT 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120" y="975360"/>
            <a:ext cx="8696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w movie conten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333772" y="2354543"/>
            <a:ext cx="342610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w movie content: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ạ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iễ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iễ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á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á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details, trailer…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ộ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Khi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ú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ooking Now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uyể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uyể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ặ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ỗ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377" y="1437025"/>
            <a:ext cx="7958868" cy="480494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55377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RONT 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120" y="975360"/>
            <a:ext cx="8696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pdate Info User and Change Passwor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7476" y="5064145"/>
            <a:ext cx="56790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uố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ổ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â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username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ệ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o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ớ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Sau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ubmit</a:t>
            </a:r>
          </a:p>
          <a:p>
            <a:pPr marL="285750" indent="-285750">
              <a:buFontTx/>
              <a:buChar char="-"/>
            </a:pP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ế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uố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ổ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ậ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ẩ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ck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ô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ố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Sau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ubmi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ổ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ậ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ẩ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596" y="1532685"/>
            <a:ext cx="4885836" cy="281579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6429" y="1532685"/>
            <a:ext cx="5448095" cy="3931920"/>
          </a:xfrm>
          <a:prstGeom prst="rect">
            <a:avLst/>
          </a:prstGeom>
        </p:spPr>
      </p:pic>
      <p:cxnSp>
        <p:nvCxnSpPr>
          <p:cNvPr id="15" name="Straight Arrow Connector 14"/>
          <p:cNvCxnSpPr>
            <a:stCxn id="11" idx="3"/>
            <a:endCxn id="13" idx="1"/>
          </p:cNvCxnSpPr>
          <p:nvPr/>
        </p:nvCxnSpPr>
        <p:spPr>
          <a:xfrm>
            <a:off x="5274432" y="2940583"/>
            <a:ext cx="1151997" cy="5580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854886" y="4381639"/>
            <a:ext cx="61061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Ấn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tick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vào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ô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trống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nếu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muốn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thay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đổi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mật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khẩu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1189978" y="3699890"/>
            <a:ext cx="575999" cy="681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55377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RONT 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17476" y="922029"/>
            <a:ext cx="8696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eate Ticket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384" y="1573165"/>
            <a:ext cx="7764895" cy="504470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928360" y="1699260"/>
            <a:ext cx="2004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ên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endParaRPr 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969339" y="2352641"/>
            <a:ext cx="2004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ạp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ếu</a:t>
            </a:r>
            <a:endParaRPr 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848200" y="2896354"/>
            <a:ext cx="2125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an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ếu</a:t>
            </a:r>
            <a:endParaRPr 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096000" y="4404209"/>
            <a:ext cx="2004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ỗ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ồi</a:t>
            </a:r>
            <a:endParaRPr 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096000" y="5482063"/>
            <a:ext cx="2004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in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 flipV="1">
            <a:off x="4754880" y="1883926"/>
            <a:ext cx="1341120" cy="1846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V="1">
            <a:off x="5425440" y="2537307"/>
            <a:ext cx="670560" cy="1068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endCxn id="26" idx="1"/>
          </p:cNvCxnSpPr>
          <p:nvPr/>
        </p:nvCxnSpPr>
        <p:spPr>
          <a:xfrm>
            <a:off x="5143500" y="2987040"/>
            <a:ext cx="704700" cy="939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endCxn id="27" idx="1"/>
          </p:cNvCxnSpPr>
          <p:nvPr/>
        </p:nvCxnSpPr>
        <p:spPr>
          <a:xfrm flipV="1">
            <a:off x="4945380" y="4588875"/>
            <a:ext cx="1150620" cy="1846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endCxn id="28" idx="1"/>
          </p:cNvCxnSpPr>
          <p:nvPr/>
        </p:nvCxnSpPr>
        <p:spPr>
          <a:xfrm flipV="1">
            <a:off x="4831080" y="5666729"/>
            <a:ext cx="1264920" cy="3530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47700" y="2182475"/>
            <a:ext cx="24155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ám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ị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í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òn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ống</a:t>
            </a:r>
            <a:endParaRPr 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anh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ị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í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endParaRPr 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ỏ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ị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í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endParaRPr 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2" name="Straight Arrow Connector 41"/>
          <p:cNvCxnSpPr>
            <a:endCxn id="40" idx="3"/>
          </p:cNvCxnSpPr>
          <p:nvPr/>
        </p:nvCxnSpPr>
        <p:spPr>
          <a:xfrm flipH="1">
            <a:off x="3063240" y="2352641"/>
            <a:ext cx="699902" cy="2914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8854325" y="3275042"/>
            <a:ext cx="26660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u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ị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í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â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ý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ubmi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55377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RONT 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120" y="975360"/>
            <a:ext cx="8696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yme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55377" y="5213490"/>
            <a:ext cx="56790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ể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ị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I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ê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ịc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iế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ị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ỉ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ạp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ậ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20" y="1602234"/>
            <a:ext cx="5490161" cy="32738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5397" y="1679827"/>
            <a:ext cx="5723804" cy="3196263"/>
          </a:xfrm>
          <a:prstGeom prst="rect">
            <a:avLst/>
          </a:prstGeom>
        </p:spPr>
      </p:pic>
      <p:cxnSp>
        <p:nvCxnSpPr>
          <p:cNvPr id="13" name="Straight Arrow Connector 12"/>
          <p:cNvCxnSpPr>
            <a:stCxn id="5" idx="3"/>
            <a:endCxn id="11" idx="1"/>
          </p:cNvCxnSpPr>
          <p:nvPr/>
        </p:nvCxnSpPr>
        <p:spPr>
          <a:xfrm>
            <a:off x="5561281" y="3239162"/>
            <a:ext cx="494116" cy="3879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690167" y="5213490"/>
            <a:ext cx="50890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u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aymen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à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ằ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omo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â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uấ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QR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é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ồ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ể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ị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á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55377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RONT 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55377" y="975360"/>
            <a:ext cx="22220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 ou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335" y="1684226"/>
            <a:ext cx="4503810" cy="23471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6822" y="1627072"/>
            <a:ext cx="4884843" cy="2461473"/>
          </a:xfrm>
          <a:prstGeom prst="rect">
            <a:avLst/>
          </a:prstGeom>
        </p:spPr>
      </p:pic>
      <p:cxnSp>
        <p:nvCxnSpPr>
          <p:cNvPr id="8" name="Straight Arrow Connector 7"/>
          <p:cNvCxnSpPr>
            <a:stCxn id="4" idx="3"/>
            <a:endCxn id="6" idx="1"/>
          </p:cNvCxnSpPr>
          <p:nvPr/>
        </p:nvCxnSpPr>
        <p:spPr>
          <a:xfrm>
            <a:off x="4934145" y="2857808"/>
            <a:ext cx="194267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362960" y="4630763"/>
            <a:ext cx="96926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u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og ou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ctor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a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ò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ues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ỉ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Search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e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chi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ế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ặ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é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îšliḑê"/>
          <p:cNvSpPr>
            <a:spLocks noGrp="1"/>
          </p:cNvSpPr>
          <p:nvPr>
            <p:ph type="title"/>
          </p:nvPr>
        </p:nvSpPr>
        <p:spPr>
          <a:xfrm>
            <a:off x="675698" y="4185069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>BACK - END</a:t>
            </a:r>
            <a:endParaRPr lang="zh-CN" altLang="en-US" sz="4800" dirty="0"/>
          </a:p>
        </p:txBody>
      </p:sp>
      <p:sp>
        <p:nvSpPr>
          <p:cNvPr id="11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ACK- END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280" y="1003829"/>
            <a:ext cx="7643898" cy="55575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9" name="TextBox 98"/>
          <p:cNvSpPr txBox="1"/>
          <p:nvPr/>
        </p:nvSpPr>
        <p:spPr>
          <a:xfrm>
            <a:off x="8331200" y="1259840"/>
            <a:ext cx="352552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PI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ồ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4 model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í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ovie, Ticket, User, Payment.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vie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ồ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ộ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hem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ó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,…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icket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ồ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ộ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updat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ó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…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r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ồ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ộ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ê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ó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,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a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yment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ạ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ay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ấ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ACK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17476" y="1026367"/>
            <a:ext cx="16699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vi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263" y="1880577"/>
            <a:ext cx="2415749" cy="18670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4198" y="930079"/>
            <a:ext cx="4544008" cy="499784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2643" y="1257199"/>
            <a:ext cx="3980164" cy="288254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7263" y="3862873"/>
            <a:ext cx="21987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odel Movi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077215" y="4205094"/>
            <a:ext cx="36855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d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ộ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ovie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ữ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e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ộ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ê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137918" y="6111551"/>
            <a:ext cx="39468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u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et all movie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ộ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ist movie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071" y="5258760"/>
            <a:ext cx="4544008" cy="68408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10547" y="6111551"/>
            <a:ext cx="35456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ó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ộ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ả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+mj-lt"/>
            </a:endParaRPr>
          </a:p>
        </p:txBody>
      </p:sp>
      <p:sp>
        <p:nvSpPr>
          <p:cNvPr id="35" name="文本框 23"/>
          <p:cNvSpPr txBox="1"/>
          <p:nvPr/>
        </p:nvSpPr>
        <p:spPr>
          <a:xfrm>
            <a:off x="136714" y="189159"/>
            <a:ext cx="65790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THÔNG TIN THÊM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320800" y="1597729"/>
            <a:ext cx="10414000" cy="4215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ôn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ữ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eam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ử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ụng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á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ồ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FRONT – END:  ReactJS </a:t>
            </a:r>
          </a:p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BACK – END:  </a:t>
            </a:r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xpressJS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DATABASE : MongoDB</a:t>
            </a:r>
          </a:p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nsomnia </a:t>
            </a:r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est API</a:t>
            </a:r>
          </a:p>
          <a:p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ACK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36715" y="1073020"/>
            <a:ext cx="2541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9957" y="964235"/>
            <a:ext cx="3505582" cy="250967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7693" y="1073020"/>
            <a:ext cx="2215891" cy="22512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17" y="3601240"/>
            <a:ext cx="6853906" cy="155236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973" y="5274456"/>
            <a:ext cx="4875825" cy="149626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787463" y="1875498"/>
            <a:ext cx="17821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odel Use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535886" y="1175657"/>
            <a:ext cx="194076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Khi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et all user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ộ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is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 bao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ồ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dm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5798" y="5597621"/>
            <a:ext cx="16924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gin adm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9967" y="3760237"/>
            <a:ext cx="21367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ấ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ộ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ả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92575" y="4801144"/>
            <a:ext cx="4286622" cy="70491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8584163" y="5710335"/>
            <a:ext cx="17728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g ou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ỏ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" name="文本框 23"/>
          <p:cNvSpPr txBox="1"/>
          <p:nvPr/>
        </p:nvSpPr>
        <p:spPr>
          <a:xfrm>
            <a:off x="136715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ACK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36715" y="933061"/>
            <a:ext cx="12555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cke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476" y="1553853"/>
            <a:ext cx="3079908" cy="29529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317476" y="4700016"/>
            <a:ext cx="3079908" cy="374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cket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8808" y="1572244"/>
            <a:ext cx="5537036" cy="1856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8808" y="4462927"/>
            <a:ext cx="5537036" cy="16489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Box 12"/>
          <p:cNvSpPr txBox="1"/>
          <p:nvPr/>
        </p:nvSpPr>
        <p:spPr>
          <a:xfrm>
            <a:off x="4178808" y="3643753"/>
            <a:ext cx="5537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tickets/: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user_id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: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ovie_id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939528" y="1572244"/>
            <a:ext cx="21031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ở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é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ằ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ody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jso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ừ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lient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ớ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user_id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ovie_id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939528" y="4376850"/>
            <a:ext cx="21031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Edi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é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ằ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ody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jso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ừ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lien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ớ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user_id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ovie_id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78808" y="6192411"/>
            <a:ext cx="5537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tickets/: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user_id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: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ovie_id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ACK- EN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36715" y="933061"/>
            <a:ext cx="12555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cke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476" y="1833318"/>
            <a:ext cx="7433781" cy="15232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278045" y="3501407"/>
            <a:ext cx="7473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tickets/: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ovie_id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83880" y="1833318"/>
            <a:ext cx="3758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oá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cke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ằ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ovie_id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uỗi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477" y="3987375"/>
            <a:ext cx="7435764" cy="17459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TextBox 10"/>
          <p:cNvSpPr txBox="1"/>
          <p:nvPr/>
        </p:nvSpPr>
        <p:spPr>
          <a:xfrm>
            <a:off x="317476" y="5916168"/>
            <a:ext cx="25537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tickets/:i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293608" y="3987375"/>
            <a:ext cx="3401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ấ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é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ặ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ằ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reques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ớ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6760" y="5729716"/>
            <a:ext cx="2980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e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ạ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ộ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ươ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ự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ACK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17476" y="961053"/>
            <a:ext cx="16512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ymen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204" y="1785851"/>
            <a:ext cx="3003704" cy="17971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470204" y="3761582"/>
            <a:ext cx="3003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aymen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1103" y="1430775"/>
            <a:ext cx="4944929" cy="179714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261103" y="3346704"/>
            <a:ext cx="4809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payments/pay/:id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398867" y="1402879"/>
            <a:ext cx="25694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lien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reques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ớ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ộ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enerate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ả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ả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u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ấ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ế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lient objec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jso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ê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ạ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ế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ấ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ử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ỗ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1102" y="4053480"/>
            <a:ext cx="4944930" cy="218169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261102" y="6235175"/>
            <a:ext cx="4944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payments/callback/:i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409176" y="4053480"/>
            <a:ext cx="256946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ạ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lien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uy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ú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ở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ộ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ung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ở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ế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sultCode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bjec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0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0204" y="4462272"/>
            <a:ext cx="30037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Hai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ò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ạ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eckService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ay IP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ế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ố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ữ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lien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ớ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erver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erver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ớ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omo.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îšliḑê"/>
          <p:cNvSpPr>
            <a:spLocks noGrp="1"/>
          </p:cNvSpPr>
          <p:nvPr>
            <p:ph type="title"/>
          </p:nvPr>
        </p:nvSpPr>
        <p:spPr>
          <a:xfrm>
            <a:off x="675698" y="4185069"/>
            <a:ext cx="5419185" cy="895350"/>
          </a:xfrm>
        </p:spPr>
        <p:txBody>
          <a:bodyPr>
            <a:normAutofit fontScale="90000"/>
          </a:bodyPr>
          <a:lstStyle/>
          <a:p>
            <a:r>
              <a:rPr lang="en-US" altLang="zh-CN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MO TRỰC TIẾP</a:t>
            </a:r>
            <a:endParaRPr lang="zh-CN" altLang="en-US" sz="4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ļ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íḍè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iṧ1îḋ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ḻïďè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Microsoft YaHei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ṩlïḓé"/>
          <p:cNvSpPr>
            <a:spLocks noGrp="1"/>
          </p:cNvSpPr>
          <p:nvPr>
            <p:ph type="ctrTitle"/>
          </p:nvPr>
        </p:nvSpPr>
        <p:spPr>
          <a:xfrm>
            <a:off x="4714875" y="2247900"/>
            <a:ext cx="3762375" cy="2353804"/>
          </a:xfrm>
        </p:spPr>
        <p:txBody>
          <a:bodyPr>
            <a:normAutofit fontScale="90000"/>
          </a:bodyPr>
          <a:lstStyle/>
          <a:p>
            <a:r>
              <a:rPr lang="en-US" altLang="zh-CN" sz="4800" dirty="0"/>
              <a:t>Thank you for your </a:t>
            </a:r>
            <a:r>
              <a:rPr lang="en-US" altLang="zh-CN" sz="4800" dirty="0" err="1"/>
              <a:t>wathing</a:t>
            </a:r>
            <a:br>
              <a:rPr lang="en-US" altLang="zh-CN" sz="4800" dirty="0"/>
            </a:br>
            <a:endParaRPr lang="zh-CN" altLang="en-US" sz="48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ļ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 5"/>
          <p:cNvSpPr/>
          <p:nvPr/>
        </p:nvSpPr>
        <p:spPr bwMode="auto">
          <a:xfrm flipH="1">
            <a:off x="6469472" y="4581908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Freeform 5"/>
          <p:cNvSpPr/>
          <p:nvPr/>
        </p:nvSpPr>
        <p:spPr bwMode="auto">
          <a:xfrm>
            <a:off x="1369485" y="1493812"/>
            <a:ext cx="4052452" cy="2291439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7" name="文本框 74"/>
          <p:cNvSpPr txBox="1"/>
          <p:nvPr/>
        </p:nvSpPr>
        <p:spPr>
          <a:xfrm>
            <a:off x="2211623" y="2420320"/>
            <a:ext cx="25314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ỘI DUNG</a:t>
            </a:r>
            <a:endParaRPr lang="zh-CN" altLang="en-US" sz="36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Freeform 5"/>
          <p:cNvSpPr/>
          <p:nvPr/>
        </p:nvSpPr>
        <p:spPr bwMode="auto">
          <a:xfrm flipH="1">
            <a:off x="6361297" y="11073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Freeform 5"/>
          <p:cNvSpPr/>
          <p:nvPr/>
        </p:nvSpPr>
        <p:spPr bwMode="auto">
          <a:xfrm flipH="1">
            <a:off x="6361297" y="2244292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0" name="Freeform 5"/>
          <p:cNvSpPr/>
          <p:nvPr/>
        </p:nvSpPr>
        <p:spPr bwMode="auto">
          <a:xfrm flipH="1">
            <a:off x="6361297" y="3381204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1" name="MH_Number_1"/>
          <p:cNvSpPr/>
          <p:nvPr>
            <p:custDataLst>
              <p:tags r:id="rId2"/>
            </p:custDataLst>
          </p:nvPr>
        </p:nvSpPr>
        <p:spPr>
          <a:xfrm>
            <a:off x="6789097" y="1287016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1</a:t>
            </a:r>
            <a:endParaRPr kumimoji="0" lang="zh-CN" altLang="en-US" sz="2110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2" name="MH_Entry_1"/>
          <p:cNvSpPr/>
          <p:nvPr>
            <p:custDataLst>
              <p:tags r:id="rId3"/>
            </p:custDataLst>
          </p:nvPr>
        </p:nvSpPr>
        <p:spPr>
          <a:xfrm>
            <a:off x="7811896" y="1278368"/>
            <a:ext cx="2602582" cy="430887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lvl="0">
              <a:defRPr/>
            </a:pPr>
            <a:r>
              <a:rPr lang="en-US" altLang="zh-CN" sz="2800" kern="0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Thành</a:t>
            </a:r>
            <a:r>
              <a:rPr lang="en-US" altLang="zh-CN" sz="28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 </a:t>
            </a:r>
            <a:r>
              <a:rPr lang="en-US" altLang="zh-CN" sz="2800" kern="0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viên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3" name="MH_Number_2"/>
          <p:cNvSpPr/>
          <p:nvPr>
            <p:custDataLst>
              <p:tags r:id="rId4"/>
            </p:custDataLst>
          </p:nvPr>
        </p:nvSpPr>
        <p:spPr>
          <a:xfrm>
            <a:off x="6789097" y="2429582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2</a:t>
            </a:r>
            <a:endParaRPr kumimoji="0" lang="zh-CN" altLang="en-US" sz="2110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4" name="MH_Entry_2"/>
          <p:cNvSpPr/>
          <p:nvPr>
            <p:custDataLst>
              <p:tags r:id="rId5"/>
            </p:custDataLst>
          </p:nvPr>
        </p:nvSpPr>
        <p:spPr>
          <a:xfrm>
            <a:off x="7811896" y="2420934"/>
            <a:ext cx="2602582" cy="430887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lvl="0">
              <a:defRPr/>
            </a:pPr>
            <a:r>
              <a:rPr lang="en-US" altLang="zh-CN" sz="28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Front - end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5" name="MH_Number_3"/>
          <p:cNvSpPr/>
          <p:nvPr>
            <p:custDataLst>
              <p:tags r:id="rId6"/>
            </p:custDataLst>
          </p:nvPr>
        </p:nvSpPr>
        <p:spPr>
          <a:xfrm>
            <a:off x="6789097" y="3572148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3</a:t>
            </a:r>
            <a:endParaRPr kumimoji="0" lang="zh-CN" altLang="en-US" sz="2110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6" name="MH_Entry_3"/>
          <p:cNvSpPr/>
          <p:nvPr>
            <p:custDataLst>
              <p:tags r:id="rId7"/>
            </p:custDataLst>
          </p:nvPr>
        </p:nvSpPr>
        <p:spPr>
          <a:xfrm>
            <a:off x="7811896" y="3563500"/>
            <a:ext cx="2602582" cy="430887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lvl="0">
              <a:defRPr/>
            </a:pPr>
            <a:r>
              <a:rPr lang="en-US" altLang="zh-CN" sz="2800" kern="0" noProof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Back - end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7" name="MH_Number_4"/>
          <p:cNvSpPr/>
          <p:nvPr>
            <p:custDataLst>
              <p:tags r:id="rId8"/>
            </p:custDataLst>
          </p:nvPr>
        </p:nvSpPr>
        <p:spPr>
          <a:xfrm>
            <a:off x="6789097" y="4714714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4</a:t>
            </a:r>
            <a:endParaRPr kumimoji="0" lang="zh-CN" altLang="en-US" sz="2110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8" name="MH_Entry_4"/>
          <p:cNvSpPr/>
          <p:nvPr>
            <p:custDataLst>
              <p:tags r:id="rId9"/>
            </p:custDataLst>
          </p:nvPr>
        </p:nvSpPr>
        <p:spPr>
          <a:xfrm>
            <a:off x="7811896" y="4706066"/>
            <a:ext cx="2602582" cy="430887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lvl="0">
              <a:defRPr/>
            </a:pPr>
            <a:r>
              <a:rPr lang="en-US" altLang="zh-CN" sz="2800" kern="0" noProof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Demo </a:t>
            </a:r>
            <a:r>
              <a:rPr lang="en-US" altLang="zh-CN" sz="2800" kern="0" noProof="0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trực</a:t>
            </a:r>
            <a:r>
              <a:rPr lang="en-US" altLang="zh-CN" sz="2800" kern="0" noProof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 </a:t>
            </a:r>
            <a:r>
              <a:rPr lang="en-US" altLang="zh-CN" sz="2800" kern="0" noProof="0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tiếp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grpSp>
        <p:nvGrpSpPr>
          <p:cNvPr id="79" name="组合 78"/>
          <p:cNvGrpSpPr/>
          <p:nvPr/>
        </p:nvGrpSpPr>
        <p:grpSpPr>
          <a:xfrm rot="1634608">
            <a:off x="970108" y="2895678"/>
            <a:ext cx="1257730" cy="3170470"/>
            <a:chOff x="8160109" y="891695"/>
            <a:chExt cx="1257730" cy="3170470"/>
          </a:xfrm>
        </p:grpSpPr>
        <p:sp>
          <p:nvSpPr>
            <p:cNvPr id="80" name="íṩḷîḓè"/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1" name="iṡļíḍe"/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2" name="íšḻïḓé"/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îṥļïďe"/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4" name="iṧlîḍê"/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5" name="íSļíḑè"/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6" name="ísḻïdê"/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7" name="ïšļíďe"/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8" name="ïṣļíḋè"/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9" name="íṩļîḍê"/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0" name="iṩḻîdè"/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1" name="îSlîḍé"/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2" name="îšľîḋe"/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68" grpId="0" animBg="1"/>
      <p:bldP spid="69" grpId="0" animBg="1"/>
      <p:bldP spid="70" grpId="0" animBg="1"/>
      <p:bldP spid="71" grpId="0" animBg="1"/>
      <p:bldP spid="72" grpId="0"/>
      <p:bldP spid="73" grpId="0" animBg="1"/>
      <p:bldP spid="74" grpId="0"/>
      <p:bldP spid="75" grpId="0" animBg="1"/>
      <p:bldP spid="76" grpId="0"/>
      <p:bldP spid="77" grpId="0" animBg="1"/>
      <p:bldP spid="7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+mj-lt"/>
            </a:endParaRPr>
          </a:p>
        </p:txBody>
      </p:sp>
      <p:sp>
        <p:nvSpPr>
          <p:cNvPr id="51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en-US" altLang="zh-CN" sz="32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Thành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</a:t>
            </a:r>
            <a:r>
              <a:rPr lang="en-US" altLang="zh-CN" sz="32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viên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49" name="Table 49"/>
          <p:cNvGraphicFramePr>
            <a:graphicFrameLocks noGrp="1"/>
          </p:cNvGraphicFramePr>
          <p:nvPr/>
        </p:nvGraphicFramePr>
        <p:xfrm>
          <a:off x="2032000" y="1660849"/>
          <a:ext cx="8128000" cy="41801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36023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SS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ọ</a:t>
                      </a:r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à</a:t>
                      </a:r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ên</a:t>
                      </a:r>
                      <a:endParaRPr lang="en-US" sz="2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6023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273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han Minh Xuâ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6023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274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ần</a:t>
                      </a:r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ăn</a:t>
                      </a:r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36023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27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ùi</a:t>
                      </a:r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uy</a:t>
                      </a:r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ảo</a:t>
                      </a:r>
                      <a:endParaRPr lang="en-US" sz="2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36023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274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guyễn</a:t>
                      </a:r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ái</a:t>
                      </a:r>
                      <a:r>
                        <a:rPr lang="en-US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8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ảo</a:t>
                      </a:r>
                      <a:endParaRPr lang="en-US" sz="2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/>
              <a:t>FRONT - END</a:t>
            </a:r>
            <a:endParaRPr lang="zh-CN" altLang="en-US" sz="4800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5"/>
          <p:cNvSpPr/>
          <p:nvPr/>
        </p:nvSpPr>
        <p:spPr bwMode="auto">
          <a:xfrm flipH="1">
            <a:off x="266676" y="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+mj-lt"/>
            </a:endParaRPr>
          </a:p>
        </p:txBody>
      </p:sp>
      <p:sp>
        <p:nvSpPr>
          <p:cNvPr id="26" name="文本框 23"/>
          <p:cNvSpPr txBox="1"/>
          <p:nvPr/>
        </p:nvSpPr>
        <p:spPr>
          <a:xfrm>
            <a:off x="85915" y="10187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FRONT - END</a:t>
            </a:r>
          </a:p>
        </p:txBody>
      </p:sp>
      <p:graphicFrame>
        <p:nvGraphicFramePr>
          <p:cNvPr id="27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6642546"/>
              </p:ext>
            </p:extLst>
          </p:nvPr>
        </p:nvGraphicFramePr>
        <p:xfrm>
          <a:off x="1446452" y="1066800"/>
          <a:ext cx="8953656" cy="55909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65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9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78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48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553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2574">
                <a:tc>
                  <a:txBody>
                    <a:bodyPr/>
                    <a:lstStyle/>
                    <a:p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ố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ứ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ự</a:t>
                      </a:r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ên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ức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ăng</a:t>
                      </a:r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ưa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oàn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ành</a:t>
                      </a:r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Đã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oàn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ành</a:t>
                      </a:r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oàn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ành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ốt</a:t>
                      </a:r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arch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og 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og o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gi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d mov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lete Mov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pdata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info us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ange Passwo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oàn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ành</a:t>
                      </a:r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U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reated Tick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ow list mov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2574"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ow movie cont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55377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RONT 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55377" y="934720"/>
            <a:ext cx="28824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Registe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6635" y="993902"/>
            <a:ext cx="7802085" cy="487019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808322" y="2621280"/>
            <a:ext cx="2214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irst Nam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808321" y="3014504"/>
            <a:ext cx="2214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ast Nam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808321" y="3346768"/>
            <a:ext cx="2214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808320" y="3679032"/>
            <a:ext cx="2214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mai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808319" y="4074480"/>
            <a:ext cx="2214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hon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808317" y="4456196"/>
            <a:ext cx="2214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asswor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08318" y="4788868"/>
            <a:ext cx="2631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nfirm Password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6797040" y="2854960"/>
            <a:ext cx="21336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endCxn id="8" idx="1"/>
          </p:cNvCxnSpPr>
          <p:nvPr/>
        </p:nvCxnSpPr>
        <p:spPr>
          <a:xfrm flipV="1">
            <a:off x="6878320" y="3199170"/>
            <a:ext cx="1930001" cy="52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endCxn id="9" idx="1"/>
          </p:cNvCxnSpPr>
          <p:nvPr/>
        </p:nvCxnSpPr>
        <p:spPr>
          <a:xfrm flipV="1">
            <a:off x="6763355" y="3531434"/>
            <a:ext cx="2044966" cy="44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endCxn id="10" idx="1"/>
          </p:cNvCxnSpPr>
          <p:nvPr/>
        </p:nvCxnSpPr>
        <p:spPr>
          <a:xfrm flipV="1">
            <a:off x="6878320" y="3863698"/>
            <a:ext cx="1930000" cy="885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endCxn id="11" idx="1"/>
          </p:cNvCxnSpPr>
          <p:nvPr/>
        </p:nvCxnSpPr>
        <p:spPr>
          <a:xfrm flipV="1">
            <a:off x="6797040" y="4259146"/>
            <a:ext cx="2011279" cy="588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6797040" y="4653280"/>
            <a:ext cx="21336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endCxn id="13" idx="1"/>
          </p:cNvCxnSpPr>
          <p:nvPr/>
        </p:nvCxnSpPr>
        <p:spPr>
          <a:xfrm flipV="1">
            <a:off x="6797040" y="4973534"/>
            <a:ext cx="2011278" cy="861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7975600" y="5402432"/>
            <a:ext cx="34645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u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o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ung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ubmi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ế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à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ă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í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oản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0" name="Straight Arrow Connector 29"/>
          <p:cNvCxnSpPr/>
          <p:nvPr/>
        </p:nvCxnSpPr>
        <p:spPr>
          <a:xfrm>
            <a:off x="6268720" y="5402432"/>
            <a:ext cx="1930400" cy="2566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55377" y="2184400"/>
            <a:ext cx="2719903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ú</a:t>
            </a:r>
            <a:r>
              <a:rPr lang="en-US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ý: 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il: người dùng cần nhập đúng dạng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xx@gmail.co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285750" indent="-285750">
              <a:buFontTx/>
              <a:buChar char="-"/>
            </a:pP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est Passwor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nfirm passwor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ả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ố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a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á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a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ă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í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55377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RONT 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17476" y="907454"/>
            <a:ext cx="15299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i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5019" y="1369119"/>
            <a:ext cx="7431900" cy="385058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072880" y="2537460"/>
            <a:ext cx="3009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ập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nam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36220" y="3135368"/>
            <a:ext cx="3009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ập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assword</a:t>
            </a:r>
          </a:p>
        </p:txBody>
      </p:sp>
      <p:cxnSp>
        <p:nvCxnSpPr>
          <p:cNvPr id="8" name="Straight Arrow Connector 7"/>
          <p:cNvCxnSpPr>
            <a:endCxn id="5" idx="1"/>
          </p:cNvCxnSpPr>
          <p:nvPr/>
        </p:nvCxnSpPr>
        <p:spPr>
          <a:xfrm flipV="1">
            <a:off x="6258560" y="2722126"/>
            <a:ext cx="2814320" cy="1846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>
            <a:off x="3019352" y="3162300"/>
            <a:ext cx="2070808" cy="157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9017000" y="3763248"/>
            <a:ext cx="28987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u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ập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name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assword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og 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ome</a:t>
            </a:r>
          </a:p>
        </p:txBody>
      </p:sp>
      <p:cxnSp>
        <p:nvCxnSpPr>
          <p:cNvPr id="15" name="Straight Arrow Connector 14"/>
          <p:cNvCxnSpPr>
            <a:endCxn id="11" idx="1"/>
          </p:cNvCxnSpPr>
          <p:nvPr/>
        </p:nvCxnSpPr>
        <p:spPr>
          <a:xfrm>
            <a:off x="6332220" y="3441145"/>
            <a:ext cx="2684780" cy="783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52120" y="4333964"/>
            <a:ext cx="21640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ế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ung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ccoun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â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cxnSp>
        <p:nvCxnSpPr>
          <p:cNvPr id="21" name="Straight Arrow Connector 20"/>
          <p:cNvCxnSpPr/>
          <p:nvPr/>
        </p:nvCxnSpPr>
        <p:spPr>
          <a:xfrm flipH="1">
            <a:off x="2011680" y="3671364"/>
            <a:ext cx="2915920" cy="889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619760" y="5537200"/>
            <a:ext cx="103530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ú</a:t>
            </a:r>
            <a:r>
              <a:rPr lang="en-US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ý :  </a:t>
            </a:r>
            <a:r>
              <a:rPr lang="en-US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yền</a:t>
            </a:r>
            <a:r>
              <a:rPr lang="en-US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dmin </a:t>
            </a:r>
            <a:r>
              <a:rPr lang="en-US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user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m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ă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í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ccoun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tabase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r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ă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í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ế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àn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ặ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é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55377" y="14778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RONT - E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120" y="975360"/>
            <a:ext cx="8696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d movie and Delete Movie (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ăng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ản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í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ạp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977" y="1647408"/>
            <a:ext cx="5679062" cy="423523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0347" y="1660559"/>
            <a:ext cx="4661423" cy="1411055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6918960" y="1437025"/>
            <a:ext cx="0" cy="51872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09977" y="6063886"/>
            <a:ext cx="56790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u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ề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o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dd movie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taff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ubmi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ê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tabas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30160" y="3566160"/>
            <a:ext cx="41249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ể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ó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staff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ập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ê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ộ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uố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ó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a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ấ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ubmit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ó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i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ó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ỏi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tabas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bb7e4016-7354-4b99-bb83-4933409858c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NUMBER"/>
  <p:tag name="ID" val="553512"/>
  <p:tag name="MH_ORDER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NUMBER"/>
  <p:tag name="ID" val="553512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NUMBER"/>
  <p:tag name="ID" val="553512"/>
  <p:tag name="MH_ORDER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NUMBER"/>
  <p:tag name="ID" val="553512"/>
  <p:tag name="MH_ORDER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3"/>
</p:tagLst>
</file>

<file path=ppt/theme/theme1.xml><?xml version="1.0" encoding="utf-8"?>
<a:theme xmlns:a="http://schemas.openxmlformats.org/drawingml/2006/main" name="Space Science PPT Template, Freepptbackgrounds.net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1B3"/>
      </a:accent1>
      <a:accent2>
        <a:srgbClr val="0EAFFD"/>
      </a:accent2>
      <a:accent3>
        <a:srgbClr val="00A6D9"/>
      </a:accent3>
      <a:accent4>
        <a:srgbClr val="818181"/>
      </a:accent4>
      <a:accent5>
        <a:srgbClr val="A5A5A5"/>
      </a:accent5>
      <a:accent6>
        <a:srgbClr val="C9C9C9"/>
      </a:accent6>
      <a:hlink>
        <a:srgbClr val="4472C4"/>
      </a:hlink>
      <a:folHlink>
        <a:srgbClr val="BFBFBF"/>
      </a:folHlink>
    </a:clrScheme>
    <a:fontScheme name="Gill Sans MT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81CBFF"/>
            </a:gs>
            <a:gs pos="100000">
              <a:srgbClr val="4F86FF"/>
            </a:gs>
          </a:gsLst>
          <a:lin ang="5400000" scaled="1"/>
        </a:gradFill>
        <a:ln w="27521" cap="flat">
          <a:noFill/>
          <a:prstDash val="solid"/>
          <a:miter/>
        </a:ln>
      </a:spPr>
      <a:bodyPr rtlCol="0" anchor="ctr"/>
      <a:lstStyle>
        <a:defPPr>
          <a:defRPr/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b7e4016-7354-4b99-bb83-4933409858cd-16x9</Template>
  <TotalTime>36</TotalTime>
  <Words>1315</Words>
  <Application>Microsoft Office PowerPoint</Application>
  <PresentationFormat>Widescreen</PresentationFormat>
  <Paragraphs>199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等线</vt:lpstr>
      <vt:lpstr>Arial</vt:lpstr>
      <vt:lpstr>Calibri</vt:lpstr>
      <vt:lpstr>Gill Sans MT</vt:lpstr>
      <vt:lpstr>Times New Roman</vt:lpstr>
      <vt:lpstr>Space Science PPT Template, Freepptbackgrounds.net</vt:lpstr>
      <vt:lpstr>think-cell Slide</vt:lpstr>
      <vt:lpstr>WEB BOOKING MOVIE</vt:lpstr>
      <vt:lpstr>PowerPoint Presentation</vt:lpstr>
      <vt:lpstr>PowerPoint Presentation</vt:lpstr>
      <vt:lpstr>PowerPoint Presentation</vt:lpstr>
      <vt:lpstr>FRONT - EN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CK - EN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MO TRỰC TIẾP</vt:lpstr>
      <vt:lpstr>Thank you for your wathing </vt:lpstr>
    </vt:vector>
  </TitlesOfParts>
  <Company>Freepptbackgrounds.net</Company>
  <LinksUpToDate>false</LinksUpToDate>
  <SharedDoc>false</SharedDoc>
  <HyperlinkBase>https://www.freepptbackgrounds.net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ace Science PPT Template</dc:title>
  <dc:subject>Powerpoint Template</dc:subject>
  <dc:creator>Freepptbackgrounds.net</dc:creator>
  <cp:keywords>Space Science PPT Template</cp:keywords>
  <dc:description>Space Science PPT Template_x000d_
www.freepptbackgrounds.net</dc:description>
  <cp:lastModifiedBy>PHAN MINH XUÂN</cp:lastModifiedBy>
  <cp:revision>33</cp:revision>
  <cp:lastPrinted>2019-07-31T16:00:00Z</cp:lastPrinted>
  <dcterms:created xsi:type="dcterms:W3CDTF">2019-10-09T01:10:00Z</dcterms:created>
  <dcterms:modified xsi:type="dcterms:W3CDTF">2023-01-07T05:3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606B904E06B64CB6B1A0AF20C0A48B8D</vt:lpwstr>
  </property>
  <property fmtid="{D5CDD505-2E9C-101B-9397-08002B2CF9AE}" pid="4" name="KSOProductBuildVer">
    <vt:lpwstr>1033-11.2.0.11440</vt:lpwstr>
  </property>
</Properties>
</file>